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5.xml" ContentType="application/vnd.openxmlformats-officedocument.drawingml.chart+xml"/>
  <Override PartName="/ppt/tags/tag3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2"/>
  </p:notesMasterIdLst>
  <p:sldIdLst>
    <p:sldId id="2113417819" r:id="rId2"/>
    <p:sldId id="2113417825" r:id="rId3"/>
    <p:sldId id="2113417896" r:id="rId4"/>
    <p:sldId id="2113417872" r:id="rId5"/>
    <p:sldId id="2113417856" r:id="rId6"/>
    <p:sldId id="2113417776" r:id="rId7"/>
    <p:sldId id="2113417894" r:id="rId8"/>
    <p:sldId id="2113417892" r:id="rId9"/>
    <p:sldId id="2113417884" r:id="rId10"/>
    <p:sldId id="2113417885" r:id="rId11"/>
    <p:sldId id="2113417886" r:id="rId12"/>
    <p:sldId id="2113417893" r:id="rId13"/>
    <p:sldId id="2113417890" r:id="rId14"/>
    <p:sldId id="2113417889" r:id="rId15"/>
    <p:sldId id="2113417897" r:id="rId16"/>
    <p:sldId id="2113417874" r:id="rId17"/>
    <p:sldId id="2113417882" r:id="rId18"/>
    <p:sldId id="2113417895" r:id="rId19"/>
    <p:sldId id="2113417891" r:id="rId20"/>
    <p:sldId id="2113417899" r:id="rId21"/>
  </p:sldIdLst>
  <p:sldSz cx="12192000" cy="6858000"/>
  <p:notesSz cx="6858000" cy="9144000"/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6" roundtripDataSignature="AMtx7mi6ib5Jt97Fx+VC7cJPlAXDtpeVjQ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44E5BE-5AB0-EE41-0EB2-698F31816154}" name="Nick Toman" initials="NT" userId="S::nick.toman@sbigrowth.com::5fc96732-ee7e-49c2-92b3-e7fb7f3ccd0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E6C28E-6C25-6240-AD5E-7F829C1857DE}" v="224" dt="2023-08-23T21:11:26.7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7" autoAdjust="0"/>
    <p:restoredTop sz="96190"/>
  </p:normalViewPr>
  <p:slideViewPr>
    <p:cSldViewPr snapToGrid="0">
      <p:cViewPr varScale="1">
        <p:scale>
          <a:sx n="103" d="100"/>
          <a:sy n="103" d="100"/>
        </p:scale>
        <p:origin x="15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36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4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yan Kurey" userId="69602309-4ead-41c8-945b-2cfaeffdc69c" providerId="ADAL" clId="{6EEC932C-B01F-41C8-92D5-F661CCD8FB83}"/>
    <pc:docChg chg="custSel delSld modSld">
      <pc:chgData name="Bryan Kurey" userId="69602309-4ead-41c8-945b-2cfaeffdc69c" providerId="ADAL" clId="{6EEC932C-B01F-41C8-92D5-F661CCD8FB83}" dt="2023-08-24T03:36:00.141" v="79" actId="478"/>
      <pc:docMkLst>
        <pc:docMk/>
      </pc:docMkLst>
      <pc:sldChg chg="del">
        <pc:chgData name="Bryan Kurey" userId="69602309-4ead-41c8-945b-2cfaeffdc69c" providerId="ADAL" clId="{6EEC932C-B01F-41C8-92D5-F661CCD8FB83}" dt="2023-08-24T03:34:27.100" v="0" actId="47"/>
        <pc:sldMkLst>
          <pc:docMk/>
          <pc:sldMk cId="30110427" sldId="2113417898"/>
        </pc:sldMkLst>
      </pc:sldChg>
      <pc:sldChg chg="delSp modSp mod">
        <pc:chgData name="Bryan Kurey" userId="69602309-4ead-41c8-945b-2cfaeffdc69c" providerId="ADAL" clId="{6EEC932C-B01F-41C8-92D5-F661CCD8FB83}" dt="2023-08-24T03:36:00.141" v="79" actId="478"/>
        <pc:sldMkLst>
          <pc:docMk/>
          <pc:sldMk cId="1449465212" sldId="2113417899"/>
        </pc:sldMkLst>
        <pc:spChg chg="del">
          <ac:chgData name="Bryan Kurey" userId="69602309-4ead-41c8-945b-2cfaeffdc69c" providerId="ADAL" clId="{6EEC932C-B01F-41C8-92D5-F661CCD8FB83}" dt="2023-08-24T03:36:00.141" v="79" actId="478"/>
          <ac:spMkLst>
            <pc:docMk/>
            <pc:sldMk cId="1449465212" sldId="2113417899"/>
            <ac:spMk id="14" creationId="{F15AF455-816C-4D1B-BD5E-EB3C12C1F22A}"/>
          </ac:spMkLst>
        </pc:spChg>
        <pc:spChg chg="mod">
          <ac:chgData name="Bryan Kurey" userId="69602309-4ead-41c8-945b-2cfaeffdc69c" providerId="ADAL" clId="{6EEC932C-B01F-41C8-92D5-F661CCD8FB83}" dt="2023-08-24T03:35:44.449" v="78" actId="20577"/>
          <ac:spMkLst>
            <pc:docMk/>
            <pc:sldMk cId="1449465212" sldId="2113417899"/>
            <ac:spMk id="19" creationId="{BE7F013C-D7DA-69E8-EB87-B4F0A6B0561F}"/>
          </ac:spMkLst>
        </pc:spChg>
      </pc:sldChg>
    </pc:docChg>
  </pc:docChgLst>
  <pc:docChgLst>
    <pc:chgData name="Bryan Kurey" userId="69602309-4ead-41c8-945b-2cfaeffdc69c" providerId="ADAL" clId="{04E6C28E-6C25-6240-AD5E-7F829C1857DE}"/>
    <pc:docChg chg="modSld">
      <pc:chgData name="Bryan Kurey" userId="69602309-4ead-41c8-945b-2cfaeffdc69c" providerId="ADAL" clId="{04E6C28E-6C25-6240-AD5E-7F829C1857DE}" dt="2023-08-23T21:11:26.707" v="95" actId="20577"/>
      <pc:docMkLst>
        <pc:docMk/>
      </pc:docMkLst>
      <pc:sldChg chg="modSp mod">
        <pc:chgData name="Bryan Kurey" userId="69602309-4ead-41c8-945b-2cfaeffdc69c" providerId="ADAL" clId="{04E6C28E-6C25-6240-AD5E-7F829C1857DE}" dt="2023-08-23T21:10:24.835" v="35" actId="20577"/>
        <pc:sldMkLst>
          <pc:docMk/>
          <pc:sldMk cId="3288799816" sldId="2113417884"/>
        </pc:sldMkLst>
        <pc:spChg chg="mod">
          <ac:chgData name="Bryan Kurey" userId="69602309-4ead-41c8-945b-2cfaeffdc69c" providerId="ADAL" clId="{04E6C28E-6C25-6240-AD5E-7F829C1857DE}" dt="2023-08-23T21:10:24.835" v="35" actId="20577"/>
          <ac:spMkLst>
            <pc:docMk/>
            <pc:sldMk cId="3288799816" sldId="2113417884"/>
            <ac:spMk id="28" creationId="{1738AA06-5878-17E2-8CD3-035840A3961D}"/>
          </ac:spMkLst>
        </pc:spChg>
      </pc:sldChg>
      <pc:sldChg chg="modSp mod">
        <pc:chgData name="Bryan Kurey" userId="69602309-4ead-41c8-945b-2cfaeffdc69c" providerId="ADAL" clId="{04E6C28E-6C25-6240-AD5E-7F829C1857DE}" dt="2023-08-23T21:10:55.206" v="69" actId="20577"/>
        <pc:sldMkLst>
          <pc:docMk/>
          <pc:sldMk cId="3521297039" sldId="2113417885"/>
        </pc:sldMkLst>
        <pc:spChg chg="mod">
          <ac:chgData name="Bryan Kurey" userId="69602309-4ead-41c8-945b-2cfaeffdc69c" providerId="ADAL" clId="{04E6C28E-6C25-6240-AD5E-7F829C1857DE}" dt="2023-08-23T21:10:55.206" v="69" actId="20577"/>
          <ac:spMkLst>
            <pc:docMk/>
            <pc:sldMk cId="3521297039" sldId="2113417885"/>
            <ac:spMk id="9" creationId="{F2452E69-ABFF-00D9-3E19-82EAF05CCA80}"/>
          </ac:spMkLst>
        </pc:spChg>
        <pc:spChg chg="mod">
          <ac:chgData name="Bryan Kurey" userId="69602309-4ead-41c8-945b-2cfaeffdc69c" providerId="ADAL" clId="{04E6C28E-6C25-6240-AD5E-7F829C1857DE}" dt="2023-08-23T20:54:49.922" v="5" actId="1035"/>
          <ac:spMkLst>
            <pc:docMk/>
            <pc:sldMk cId="3521297039" sldId="2113417885"/>
            <ac:spMk id="15" creationId="{B216A770-CCDC-2AB3-45F4-520979075240}"/>
          </ac:spMkLst>
        </pc:spChg>
        <pc:spChg chg="mod">
          <ac:chgData name="Bryan Kurey" userId="69602309-4ead-41c8-945b-2cfaeffdc69c" providerId="ADAL" clId="{04E6C28E-6C25-6240-AD5E-7F829C1857DE}" dt="2023-08-23T20:54:42.433" v="2" actId="14100"/>
          <ac:spMkLst>
            <pc:docMk/>
            <pc:sldMk cId="3521297039" sldId="2113417885"/>
            <ac:spMk id="24" creationId="{DAFD7006-80DA-41D7-986A-C77959F90E30}"/>
          </ac:spMkLst>
        </pc:spChg>
        <pc:cxnChg chg="mod">
          <ac:chgData name="Bryan Kurey" userId="69602309-4ead-41c8-945b-2cfaeffdc69c" providerId="ADAL" clId="{04E6C28E-6C25-6240-AD5E-7F829C1857DE}" dt="2023-08-23T20:54:25.047" v="0" actId="1076"/>
          <ac:cxnSpMkLst>
            <pc:docMk/>
            <pc:sldMk cId="3521297039" sldId="2113417885"/>
            <ac:cxnSpMk id="10" creationId="{9D2FDB88-CEB1-DEAD-352F-78F9985C60B7}"/>
          </ac:cxnSpMkLst>
        </pc:cxnChg>
      </pc:sldChg>
      <pc:sldChg chg="modSp mod">
        <pc:chgData name="Bryan Kurey" userId="69602309-4ead-41c8-945b-2cfaeffdc69c" providerId="ADAL" clId="{04E6C28E-6C25-6240-AD5E-7F829C1857DE}" dt="2023-08-23T21:11:11.764" v="88" actId="20577"/>
        <pc:sldMkLst>
          <pc:docMk/>
          <pc:sldMk cId="946456227" sldId="2113417886"/>
        </pc:sldMkLst>
        <pc:spChg chg="mod">
          <ac:chgData name="Bryan Kurey" userId="69602309-4ead-41c8-945b-2cfaeffdc69c" providerId="ADAL" clId="{04E6C28E-6C25-6240-AD5E-7F829C1857DE}" dt="2023-08-23T21:11:11.764" v="88" actId="20577"/>
          <ac:spMkLst>
            <pc:docMk/>
            <pc:sldMk cId="946456227" sldId="2113417886"/>
            <ac:spMk id="9" creationId="{95BF4B0F-D833-4AA4-DE02-B6A6422C83BB}"/>
          </ac:spMkLst>
        </pc:spChg>
        <pc:spChg chg="mod">
          <ac:chgData name="Bryan Kurey" userId="69602309-4ead-41c8-945b-2cfaeffdc69c" providerId="ADAL" clId="{04E6C28E-6C25-6240-AD5E-7F829C1857DE}" dt="2023-08-23T20:56:41.671" v="19" actId="20577"/>
          <ac:spMkLst>
            <pc:docMk/>
            <pc:sldMk cId="946456227" sldId="2113417886"/>
            <ac:spMk id="37" creationId="{EA82BC7D-DE0A-1BB1-DE8B-FB3E5DDC5920}"/>
          </ac:spMkLst>
        </pc:spChg>
      </pc:sldChg>
      <pc:sldChg chg="modSp">
        <pc:chgData name="Bryan Kurey" userId="69602309-4ead-41c8-945b-2cfaeffdc69c" providerId="ADAL" clId="{04E6C28E-6C25-6240-AD5E-7F829C1857DE}" dt="2023-08-23T21:11:26.707" v="95" actId="20577"/>
        <pc:sldMkLst>
          <pc:docMk/>
          <pc:sldMk cId="2116353958" sldId="2113417893"/>
        </pc:sldMkLst>
        <pc:spChg chg="mod">
          <ac:chgData name="Bryan Kurey" userId="69602309-4ead-41c8-945b-2cfaeffdc69c" providerId="ADAL" clId="{04E6C28E-6C25-6240-AD5E-7F829C1857DE}" dt="2023-08-23T21:11:26.707" v="95" actId="20577"/>
          <ac:spMkLst>
            <pc:docMk/>
            <pc:sldMk cId="2116353958" sldId="2113417893"/>
            <ac:spMk id="9" creationId="{A72DF3BD-8D4D-0F18-BAF0-DBA5309E80F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70308788598575"/>
          <c:y val="3.8011695906432746E-2"/>
          <c:w val="0.75059382422802845"/>
          <c:h val="0.923976608187134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712-444A-99DA-55C48EA8D0A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712-444A-99DA-55C48EA8D0A9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6.57894736842105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712-444A-99DA-55C48EA8D0A9}"/>
                </c:ext>
              </c:extLst>
            </c:dLbl>
            <c:dLbl>
              <c:idx val="1"/>
              <c:layout>
                <c:manualLayout>
                  <c:x val="-1.2470308788598575E-2"/>
                  <c:y val="-1.09649122807017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712-444A-99DA-55C48EA8D0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12-444A-99DA-55C48EA8D0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73396674584323"/>
          <c:y val="3.7735849056603772E-2"/>
          <c:w val="0.75653206650831351"/>
          <c:h val="0.9245283018867924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210-2F40-B692-53DDA0F59A67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210-2F40-B692-53DDA0F59A67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7.98258345428156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10-2F40-B692-53DDA0F59A67}"/>
                </c:ext>
              </c:extLst>
            </c:dLbl>
            <c:dLbl>
              <c:idx val="1"/>
              <c:layout>
                <c:manualLayout>
                  <c:x val="-1.2470308788598575E-2"/>
                  <c:y val="-1.30624092888243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10-2F40-B692-53DDA0F59A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10-2F40-B692-53DDA0F59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70308788598575"/>
          <c:y val="3.8011695906432746E-2"/>
          <c:w val="0.75059382422802845"/>
          <c:h val="0.923976608187134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F08-B14A-A687-4DA6A95183A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F08-B14A-A687-4DA6A95183A1}"/>
              </c:ext>
            </c:extLst>
          </c:dPt>
          <c:dLbls>
            <c:dLbl>
              <c:idx val="0"/>
              <c:layout>
                <c:manualLayout>
                  <c:x val="1.1282660332541567E-2"/>
                  <c:y val="7.309941520467835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F08-B14A-A687-4DA6A95183A1}"/>
                </c:ext>
              </c:extLst>
            </c:dLbl>
            <c:dLbl>
              <c:idx val="1"/>
              <c:layout>
                <c:manualLayout>
                  <c:x val="-1.1876484560570071E-2"/>
                  <c:y val="-1.24269005847953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F08-B14A-A687-4DA6A95183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9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08-B14A-A687-4DA6A95183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9A-4088-B65C-1E91E9E10C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39A-4088-B65C-1E91E9E10C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39A-4088-B65C-1E91E9E10C21}"/>
              </c:ext>
            </c:extLst>
          </c:dPt>
          <c:dLbls>
            <c:dLbl>
              <c:idx val="0"/>
              <c:layout>
                <c:manualLayout>
                  <c:x val="3.4663865546218489E-2"/>
                  <c:y val="-3.834033613445378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9A-4088-B65C-1E91E9E10C21}"/>
                </c:ext>
              </c:extLst>
            </c:dLbl>
            <c:dLbl>
              <c:idx val="1"/>
              <c:layout>
                <c:manualLayout>
                  <c:x val="2.3634453781512604E-2"/>
                  <c:y val="5.30462184873949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9A-4088-B65C-1E91E9E10C21}"/>
                </c:ext>
              </c:extLst>
            </c:dLbl>
            <c:dLbl>
              <c:idx val="2"/>
              <c:layout>
                <c:manualLayout>
                  <c:x val="-4.4117647058823532E-2"/>
                  <c:y val="-2.048319327731092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9A-4088-B65C-1E91E9E10C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24</c:v>
                </c:pt>
                <c:pt idx="1">
                  <c:v>39</c:v>
                </c:pt>
                <c:pt idx="2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9A-4088-B65C-1E91E9E10C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31584470094439E-2"/>
          <c:y val="2.7310924369747899E-2"/>
          <c:w val="0.94438614900314799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746-054A-B1BA-AFE5AD10629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746-054A-B1BA-AFE5AD10629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746-054A-B1BA-AFE5AD10629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746-054A-B1BA-AFE5AD10629E}"/>
              </c:ext>
            </c:extLst>
          </c:dPt>
          <c:dLbls>
            <c:dLbl>
              <c:idx val="0"/>
              <c:layout>
                <c:manualLayout>
                  <c:x val="3.2004197271773345E-2"/>
                  <c:y val="-4.306722689075630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746-054A-B1BA-AFE5AD10629E}"/>
                </c:ext>
              </c:extLst>
            </c:dLbl>
            <c:dLbl>
              <c:idx val="1"/>
              <c:layout>
                <c:manualLayout>
                  <c:x val="2.7806925498426022E-2"/>
                  <c:y val="4.569327731092436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746-054A-B1BA-AFE5AD10629E}"/>
                </c:ext>
              </c:extLst>
            </c:dLbl>
            <c:dLbl>
              <c:idx val="2"/>
              <c:layout>
                <c:manualLayout>
                  <c:x val="-4.9842602308499476E-2"/>
                  <c:y val="6.302521008403361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746-054A-B1BA-AFE5AD10629E}"/>
                </c:ext>
              </c:extLst>
            </c:dLbl>
            <c:dLbl>
              <c:idx val="3"/>
              <c:layout>
                <c:manualLayout>
                  <c:x val="-2.8331584470094439E-2"/>
                  <c:y val="-4.98949579831932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venir Next LT Pro"/>
                      <a:ea typeface="Avenir Next LT Pro"/>
                      <a:cs typeface="Avenir Next LT Pro"/>
                      <a:sym typeface="Avenir Next LT Pro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746-054A-B1BA-AFE5AD10629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1</c:v>
                </c:pt>
                <c:pt idx="1">
                  <c:v>41</c:v>
                </c:pt>
                <c:pt idx="2">
                  <c:v>21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46-054A-B1BA-AFE5AD1062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2119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6825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8177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382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76466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642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Slide blue dots bkdg">
  <p:cSld name="7_Title Slide blue dots bkdg">
    <p:bg>
      <p:bgPr>
        <a:solidFill>
          <a:schemeClr val="accent1"/>
        </a:solidFill>
        <a:effectLst/>
      </p:bgPr>
    </p:bg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0" name="Google Shape;340;p15" descr="A picture containing background patter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Google Shape;341;p15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2" name="Google Shape;342;p15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3" name="Google Shape;343;p15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344" name="Google Shape;344;p15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345" name="Google Shape;345;p15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6" name="Google Shape;346;p15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7" name="Google Shape;347;p15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8" name="Google Shape;348;p15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49" name="Google Shape;349;p15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0" name="Google Shape;350;p15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1" name="Google Shape;351;p15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2" name="Google Shape;352;p15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3" name="Google Shape;353;p15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4" name="Google Shape;354;p15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5" name="Google Shape;355;p15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6" name="Google Shape;356;p15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7" name="Google Shape;357;p15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8" name="Google Shape;358;p15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59" name="Google Shape;359;p15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0" name="Google Shape;360;p15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1" name="Google Shape;361;p15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2" name="Google Shape;362;p15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3" name="Google Shape;363;p15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4" name="Google Shape;364;p15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5" name="Google Shape;365;p15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6" name="Google Shape;366;p15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7" name="Google Shape;367;p15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8" name="Google Shape;368;p15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69" name="Google Shape;369;p15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0" name="Google Shape;370;p15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1" name="Google Shape;371;p15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2" name="Google Shape;372;p15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3" name="Google Shape;373;p15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4" name="Google Shape;374;p15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5" name="Google Shape;375;p15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6" name="Google Shape;376;p15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7" name="Google Shape;377;p15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8" name="Google Shape;378;p15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79" name="Google Shape;379;p15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0" name="Google Shape;380;p15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1" name="Google Shape;381;p15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2" name="Google Shape;382;p15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3" name="Google Shape;383;p15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4" name="Google Shape;384;p15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5" name="Google Shape;385;p15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6" name="Google Shape;386;p15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7" name="Google Shape;387;p15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8" name="Google Shape;388;p15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89" name="Google Shape;389;p15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0" name="Google Shape;390;p15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1" name="Google Shape;391;p15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2" name="Google Shape;392;p15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3" name="Google Shape;393;p15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4" name="Google Shape;394;p15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5" name="Google Shape;395;p15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6" name="Google Shape;396;p15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7" name="Google Shape;397;p15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8" name="Google Shape;398;p15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99" name="Google Shape;399;p15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0" name="Google Shape;400;p15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1" name="Google Shape;401;p15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2" name="Google Shape;402;p15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3" name="Google Shape;403;p15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4" name="Google Shape;404;p15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5" name="Google Shape;405;p15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6" name="Google Shape;406;p15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7" name="Google Shape;407;p15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08" name="Google Shape;408;p15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409" name="Google Shape;409;p15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 blue dots bkdg">
  <p:cSld name="3_Title Slide blue dots bkdg">
    <p:bg>
      <p:bgPr>
        <a:solidFill>
          <a:schemeClr val="accent1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" name="Google Shape;411;p16" descr="A picture containing text, night, dark, li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12" name="Google Shape;412;p16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13" name="Google Shape;413;p16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4" name="Google Shape;414;p16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15" name="Google Shape;415;p16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16" name="Google Shape;416;p16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7" name="Google Shape;417;p16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8" name="Google Shape;418;p16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19" name="Google Shape;419;p16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0" name="Google Shape;420;p16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1" name="Google Shape;421;p16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2" name="Google Shape;422;p16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3" name="Google Shape;423;p16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4" name="Google Shape;424;p16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5" name="Google Shape;425;p16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6" name="Google Shape;426;p16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7" name="Google Shape;427;p16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8" name="Google Shape;428;p16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29" name="Google Shape;429;p16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0" name="Google Shape;430;p16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1" name="Google Shape;431;p16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2" name="Google Shape;432;p16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3" name="Google Shape;433;p16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4" name="Google Shape;434;p16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5" name="Google Shape;435;p16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6" name="Google Shape;436;p16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7" name="Google Shape;437;p16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8" name="Google Shape;438;p16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39" name="Google Shape;439;p16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0" name="Google Shape;440;p16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1" name="Google Shape;441;p16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2" name="Google Shape;442;p16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3" name="Google Shape;443;p16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4" name="Google Shape;444;p16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5" name="Google Shape;445;p16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6" name="Google Shape;446;p16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7" name="Google Shape;447;p16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8" name="Google Shape;448;p16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49" name="Google Shape;449;p16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0" name="Google Shape;450;p16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1" name="Google Shape;451;p16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2" name="Google Shape;452;p16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3" name="Google Shape;453;p16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4" name="Google Shape;454;p16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5" name="Google Shape;455;p16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6" name="Google Shape;456;p16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7" name="Google Shape;457;p16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8" name="Google Shape;458;p16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59" name="Google Shape;459;p16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0" name="Google Shape;460;p16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1" name="Google Shape;461;p16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2" name="Google Shape;462;p16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3" name="Google Shape;463;p16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4" name="Google Shape;464;p16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5" name="Google Shape;465;p16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6" name="Google Shape;466;p16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7" name="Google Shape;467;p16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8" name="Google Shape;468;p16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69" name="Google Shape;469;p16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0" name="Google Shape;470;p16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1" name="Google Shape;471;p16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2" name="Google Shape;472;p16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3" name="Google Shape;473;p16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4" name="Google Shape;474;p16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5" name="Google Shape;475;p16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6" name="Google Shape;476;p16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7" name="Google Shape;477;p16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8" name="Google Shape;478;p16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79" name="Google Shape;479;p16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480" name="Google Shape;480;p16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le Slide blue dots bkdg">
  <p:cSld name="4_Title Slide blue dots bkdg">
    <p:bg>
      <p:bgPr>
        <a:solidFill>
          <a:schemeClr val="accent1"/>
        </a:solidFill>
        <a:effectLst/>
      </p:bgPr>
    </p:bg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Google Shape;482;p17" descr="A picture containing tex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3" name="Google Shape;483;p17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84" name="Google Shape;484;p17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5" name="Google Shape;485;p17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486" name="Google Shape;486;p17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487" name="Google Shape;487;p17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8" name="Google Shape;488;p17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89" name="Google Shape;489;p17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0" name="Google Shape;490;p17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1" name="Google Shape;491;p17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2" name="Google Shape;492;p17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3" name="Google Shape;493;p17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4" name="Google Shape;494;p17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5" name="Google Shape;495;p17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6" name="Google Shape;496;p17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7" name="Google Shape;497;p17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8" name="Google Shape;498;p17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499" name="Google Shape;499;p17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0" name="Google Shape;500;p17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1" name="Google Shape;501;p17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2" name="Google Shape;502;p17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3" name="Google Shape;503;p17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4" name="Google Shape;504;p17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5" name="Google Shape;505;p17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6" name="Google Shape;506;p17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7" name="Google Shape;507;p17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8" name="Google Shape;508;p17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09" name="Google Shape;509;p17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0" name="Google Shape;510;p17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1" name="Google Shape;511;p17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2" name="Google Shape;512;p17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3" name="Google Shape;513;p17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4" name="Google Shape;514;p17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5" name="Google Shape;515;p17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6" name="Google Shape;516;p17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7" name="Google Shape;517;p17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8" name="Google Shape;518;p17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19" name="Google Shape;519;p17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0" name="Google Shape;520;p17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1" name="Google Shape;521;p17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2" name="Google Shape;522;p17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3" name="Google Shape;523;p17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4" name="Google Shape;524;p17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5" name="Google Shape;525;p17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6" name="Google Shape;526;p17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7" name="Google Shape;527;p17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8" name="Google Shape;528;p17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29" name="Google Shape;529;p17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0" name="Google Shape;530;p17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1" name="Google Shape;531;p17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2" name="Google Shape;532;p17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3" name="Google Shape;533;p17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4" name="Google Shape;534;p17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5" name="Google Shape;535;p17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6" name="Google Shape;536;p17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7" name="Google Shape;537;p17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8" name="Google Shape;538;p17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39" name="Google Shape;539;p17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0" name="Google Shape;540;p17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1" name="Google Shape;541;p17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2" name="Google Shape;542;p17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3" name="Google Shape;543;p17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4" name="Google Shape;544;p17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5" name="Google Shape;545;p17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6" name="Google Shape;546;p17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7" name="Google Shape;547;p17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8" name="Google Shape;548;p17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49" name="Google Shape;549;p17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0" name="Google Shape;550;p17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551" name="Google Shape;551;p17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 blue dots bkdg">
  <p:cSld name="5_Title Slide blue dots bkdg">
    <p:bg>
      <p:bgPr>
        <a:solidFill>
          <a:schemeClr val="accent1"/>
        </a:solidFill>
        <a:effectLst/>
      </p:bgPr>
    </p:bg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" name="Google Shape;553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18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55" name="Google Shape;555;p18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6" name="Google Shape;556;p18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557" name="Google Shape;557;p18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558" name="Google Shape;558;p18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59" name="Google Shape;559;p18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0" name="Google Shape;560;p18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1" name="Google Shape;561;p18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2" name="Google Shape;562;p18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3" name="Google Shape;563;p18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4" name="Google Shape;564;p18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5" name="Google Shape;565;p18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6" name="Google Shape;566;p18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7" name="Google Shape;567;p18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8" name="Google Shape;568;p18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69" name="Google Shape;569;p18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0" name="Google Shape;570;p18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1" name="Google Shape;571;p18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2" name="Google Shape;572;p18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3" name="Google Shape;573;p18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4" name="Google Shape;574;p18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5" name="Google Shape;575;p18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6" name="Google Shape;576;p18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7" name="Google Shape;577;p18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8" name="Google Shape;578;p18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79" name="Google Shape;579;p18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0" name="Google Shape;580;p18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1" name="Google Shape;581;p18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2" name="Google Shape;582;p18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3" name="Google Shape;583;p18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4" name="Google Shape;584;p18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5" name="Google Shape;585;p18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6" name="Google Shape;586;p18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7" name="Google Shape;587;p18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8" name="Google Shape;588;p18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89" name="Google Shape;589;p18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0" name="Google Shape;590;p18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1" name="Google Shape;591;p18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2" name="Google Shape;592;p18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3" name="Google Shape;593;p18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4" name="Google Shape;594;p18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5" name="Google Shape;595;p18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6" name="Google Shape;596;p18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7" name="Google Shape;597;p18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8" name="Google Shape;598;p18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599" name="Google Shape;599;p18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0" name="Google Shape;600;p18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1" name="Google Shape;601;p18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2" name="Google Shape;602;p18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3" name="Google Shape;603;p18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4" name="Google Shape;604;p18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5" name="Google Shape;605;p18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6" name="Google Shape;606;p18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7" name="Google Shape;607;p18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8" name="Google Shape;608;p18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09" name="Google Shape;609;p18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0" name="Google Shape;610;p18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1" name="Google Shape;611;p18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2" name="Google Shape;612;p18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3" name="Google Shape;613;p18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4" name="Google Shape;614;p18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5" name="Google Shape;615;p18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6" name="Google Shape;616;p18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7" name="Google Shape;617;p18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8" name="Google Shape;618;p18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9" name="Google Shape;619;p18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0" name="Google Shape;620;p18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1" name="Google Shape;621;p18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622" name="Google Shape;622;p18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blue dots bkdg">
  <p:cSld name="1_Title Slide blue dots bkdg">
    <p:bg>
      <p:bgPr>
        <a:solidFill>
          <a:schemeClr val="accent1"/>
        </a:solidFill>
        <a:effectLst/>
      </p:bgPr>
    </p:bg>
    <p:spTree>
      <p:nvGrpSpPr>
        <p:cNvPr id="1" name="Shape 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" name="Google Shape;624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19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26" name="Google Shape;626;p19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7" name="Google Shape;627;p19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28" name="Google Shape;628;p19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29" name="Google Shape;629;p19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0" name="Google Shape;630;p19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1" name="Google Shape;631;p19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2" name="Google Shape;632;p19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3" name="Google Shape;633;p19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4" name="Google Shape;634;p19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5" name="Google Shape;635;p19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6" name="Google Shape;636;p19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7" name="Google Shape;637;p19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8" name="Google Shape;638;p19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9" name="Google Shape;639;p19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0" name="Google Shape;640;p19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1" name="Google Shape;641;p19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2" name="Google Shape;642;p19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3" name="Google Shape;643;p19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4" name="Google Shape;644;p19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5" name="Google Shape;645;p19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6" name="Google Shape;646;p19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7" name="Google Shape;647;p19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8" name="Google Shape;648;p19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9" name="Google Shape;649;p19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0" name="Google Shape;650;p19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1" name="Google Shape;651;p19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2" name="Google Shape;652;p19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3" name="Google Shape;653;p19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4" name="Google Shape;654;p19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5" name="Google Shape;655;p19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6" name="Google Shape;656;p19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7" name="Google Shape;657;p19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8" name="Google Shape;658;p19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9" name="Google Shape;659;p19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0" name="Google Shape;660;p19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1" name="Google Shape;661;p19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2" name="Google Shape;662;p19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3" name="Google Shape;663;p19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4" name="Google Shape;664;p19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5" name="Google Shape;665;p19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6" name="Google Shape;666;p19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7" name="Google Shape;667;p19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8" name="Google Shape;668;p19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9" name="Google Shape;669;p19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0" name="Google Shape;670;p19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1" name="Google Shape;671;p19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2" name="Google Shape;672;p19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3" name="Google Shape;673;p19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4" name="Google Shape;674;p19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5" name="Google Shape;675;p19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6" name="Google Shape;676;p19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7" name="Google Shape;677;p19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8" name="Google Shape;678;p19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9" name="Google Shape;679;p19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0" name="Google Shape;680;p19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1" name="Google Shape;681;p19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2" name="Google Shape;682;p19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3" name="Google Shape;683;p19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4" name="Google Shape;684;p19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5" name="Google Shape;685;p19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6" name="Google Shape;686;p19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7" name="Google Shape;687;p19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8" name="Google Shape;688;p19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9" name="Google Shape;689;p19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0" name="Google Shape;690;p19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1" name="Google Shape;691;p19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2" name="Google Shape;692;p19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693" name="Google Shape;693;p19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blue dots bkdg">
  <p:cSld name="2_Title Slide blue dots bkdg">
    <p:bg>
      <p:bgPr>
        <a:solidFill>
          <a:schemeClr val="accent1"/>
        </a:solidFill>
        <a:effectLst/>
      </p:bgPr>
    </p:bg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5" name="Google Shape;695;p20" descr="A picture containing text, night, road, dark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96" name="Google Shape;696;p20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97" name="Google Shape;697;p20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8" name="Google Shape;698;p20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699" name="Google Shape;699;p20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700" name="Google Shape;700;p20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1" name="Google Shape;701;p20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2" name="Google Shape;702;p20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3" name="Google Shape;703;p20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4" name="Google Shape;704;p20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5" name="Google Shape;705;p20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6" name="Google Shape;706;p20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7" name="Google Shape;707;p20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8" name="Google Shape;708;p20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9" name="Google Shape;709;p20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0" name="Google Shape;710;p20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1" name="Google Shape;711;p20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2" name="Google Shape;712;p20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3" name="Google Shape;713;p20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4" name="Google Shape;714;p20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5" name="Google Shape;715;p20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6" name="Google Shape;716;p20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7" name="Google Shape;717;p20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8" name="Google Shape;718;p20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9" name="Google Shape;719;p20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0" name="Google Shape;720;p20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1" name="Google Shape;721;p20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2" name="Google Shape;722;p20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3" name="Google Shape;723;p20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4" name="Google Shape;724;p20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5" name="Google Shape;725;p20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6" name="Google Shape;726;p20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7" name="Google Shape;727;p20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8" name="Google Shape;728;p20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9" name="Google Shape;729;p20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0" name="Google Shape;730;p20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1" name="Google Shape;731;p20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2" name="Google Shape;732;p20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3" name="Google Shape;733;p20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4" name="Google Shape;734;p20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5" name="Google Shape;735;p20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6" name="Google Shape;736;p20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7" name="Google Shape;737;p20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8" name="Google Shape;738;p20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9" name="Google Shape;739;p20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0" name="Google Shape;740;p20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1" name="Google Shape;741;p20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2" name="Google Shape;742;p20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3" name="Google Shape;743;p20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4" name="Google Shape;744;p20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5" name="Google Shape;745;p20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6" name="Google Shape;746;p20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7" name="Google Shape;747;p20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8" name="Google Shape;748;p20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9" name="Google Shape;749;p20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0" name="Google Shape;750;p20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1" name="Google Shape;751;p20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2" name="Google Shape;752;p20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3" name="Google Shape;753;p20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4" name="Google Shape;754;p20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5" name="Google Shape;755;p20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6" name="Google Shape;756;p20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7" name="Google Shape;757;p20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8" name="Google Shape;758;p20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9" name="Google Shape;759;p20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0" name="Google Shape;760;p20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1" name="Google Shape;761;p20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2" name="Google Shape;762;p20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3" name="Google Shape;763;p20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764" name="Google Shape;764;p20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p21"/>
          <p:cNvSpPr txBox="1">
            <a:spLocks noGrp="1"/>
          </p:cNvSpPr>
          <p:nvPr>
            <p:ph type="body" idx="1"/>
          </p:nvPr>
        </p:nvSpPr>
        <p:spPr>
          <a:xfrm>
            <a:off x="1802541" y="2186099"/>
            <a:ext cx="1354138" cy="273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B0B"/>
              </a:buClr>
              <a:buSzPts val="5400"/>
              <a:buFont typeface="Arial"/>
              <a:buNone/>
              <a:defRPr sz="5400" b="1">
                <a:solidFill>
                  <a:srgbClr val="000B0B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7" name="Google Shape;767;p21"/>
          <p:cNvSpPr txBox="1">
            <a:spLocks noGrp="1"/>
          </p:cNvSpPr>
          <p:nvPr>
            <p:ph type="body" idx="2"/>
          </p:nvPr>
        </p:nvSpPr>
        <p:spPr>
          <a:xfrm>
            <a:off x="3209681" y="2331426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8" name="Google Shape;768;p21"/>
          <p:cNvSpPr txBox="1">
            <a:spLocks noGrp="1"/>
          </p:cNvSpPr>
          <p:nvPr>
            <p:ph type="body" idx="3"/>
          </p:nvPr>
        </p:nvSpPr>
        <p:spPr>
          <a:xfrm>
            <a:off x="3209681" y="3209931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9" name="Google Shape;769;p21"/>
          <p:cNvSpPr txBox="1">
            <a:spLocks noGrp="1"/>
          </p:cNvSpPr>
          <p:nvPr>
            <p:ph type="body" idx="4"/>
          </p:nvPr>
        </p:nvSpPr>
        <p:spPr>
          <a:xfrm>
            <a:off x="3209681" y="4094298"/>
            <a:ext cx="6866305" cy="567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0" name="Google Shape;770;p21"/>
          <p:cNvSpPr txBox="1">
            <a:spLocks noGrp="1"/>
          </p:cNvSpPr>
          <p:nvPr>
            <p:ph type="body" idx="5"/>
          </p:nvPr>
        </p:nvSpPr>
        <p:spPr>
          <a:xfrm>
            <a:off x="1811587" y="1493698"/>
            <a:ext cx="10971942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1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right light blue bkgd">
  <p:cSld name="Big Stmnt right light blue bkgd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Google Shape;788;p26"/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89" name="Google Shape;789;p26"/>
          <p:cNvSpPr txBox="1">
            <a:spLocks noGrp="1"/>
          </p:cNvSpPr>
          <p:nvPr>
            <p:ph type="body" idx="1"/>
          </p:nvPr>
        </p:nvSpPr>
        <p:spPr>
          <a:xfrm>
            <a:off x="8424742" y="1608083"/>
            <a:ext cx="3226676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0" name="Google Shape;790;p26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638048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91" name="Google Shape;791;p26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792" name="Google Shape;792;p26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93" name="Google Shape;793;p26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dark blue bkgd">
  <p:cSld name="Big Stmnt left dark blue bkgd"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p27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96" name="Google Shape;796;p27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7" name="Google Shape;797;p27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8" name="Google Shape;798;p27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799" name="Google Shape;799;p27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0" name="Google Shape;800;p27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Stmnt left light blue bkgd">
  <p:cSld name="Big Stmnt left light blue bkgd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p28"/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03" name="Google Shape;803;p28"/>
          <p:cNvSpPr txBox="1">
            <a:spLocks noGrp="1"/>
          </p:cNvSpPr>
          <p:nvPr>
            <p:ph type="body" idx="1"/>
          </p:nvPr>
        </p:nvSpPr>
        <p:spPr>
          <a:xfrm>
            <a:off x="7935310" y="1608083"/>
            <a:ext cx="3647091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4" name="Google Shape;804;p28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5729057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05" name="Google Shape;805;p28" descr="A black and white logo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 b="23462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06" name="Google Shape;806;p28"/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07" name="Google Shape;807;p28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panel no bkgd">
  <p:cSld name="One panel no bkg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se Study">
  <p:cSld name="Case Study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29"/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0" name="Google Shape;810;p29"/>
          <p:cNvSpPr txBox="1">
            <a:spLocks noGrp="1"/>
          </p:cNvSpPr>
          <p:nvPr>
            <p:ph type="body" idx="1"/>
          </p:nvPr>
        </p:nvSpPr>
        <p:spPr>
          <a:xfrm>
            <a:off x="9343697" y="1608083"/>
            <a:ext cx="2238704" cy="36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o"/>
              <a:defRPr>
                <a:solidFill>
                  <a:schemeClr val="lt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−"/>
              <a:defRPr>
                <a:solidFill>
                  <a:schemeClr val="lt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1" name="Google Shape;811;p29"/>
          <p:cNvSpPr txBox="1">
            <a:spLocks noGrp="1"/>
          </p:cNvSpPr>
          <p:nvPr>
            <p:ph type="body" idx="2"/>
          </p:nvPr>
        </p:nvSpPr>
        <p:spPr>
          <a:xfrm>
            <a:off x="609599" y="1608083"/>
            <a:ext cx="7304691" cy="3281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1"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o"/>
              <a:defRPr b="1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−"/>
              <a:defRPr b="1">
                <a:solidFill>
                  <a:schemeClr val="dk1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b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12" name="Google Shape;812;p29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0110" y="6396759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813" name="Google Shape;813;p29"/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14" name="Google Shape;814;p29"/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&amp; Callout">
  <p:cSld name="Content &amp; Callou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Google Shape;38;p8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731519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Google Shape;39;p8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8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8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panel no bkgd">
  <p:cSld name="Two panel no bkgd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9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Google Shape;45;p9"/>
          <p:cNvSpPr txBox="1">
            <a:spLocks noGrp="1"/>
          </p:cNvSpPr>
          <p:nvPr>
            <p:ph type="body" idx="2"/>
          </p:nvPr>
        </p:nvSpPr>
        <p:spPr>
          <a:xfrm>
            <a:off x="609599" y="2505075"/>
            <a:ext cx="5182129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Google Shape;46;p9"/>
          <p:cNvSpPr txBox="1">
            <a:spLocks noGrp="1"/>
          </p:cNvSpPr>
          <p:nvPr>
            <p:ph type="body" idx="3"/>
          </p:nvPr>
        </p:nvSpPr>
        <p:spPr>
          <a:xfrm>
            <a:off x="640027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4"/>
          </p:nvPr>
        </p:nvSpPr>
        <p:spPr>
          <a:xfrm>
            <a:off x="640027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Google Shape;48;p9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panel no bkgd">
  <p:cSld name="Three panel no bkgd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Google Shape;53;p10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 txBox="1">
            <a:spLocks noGrp="1"/>
          </p:cNvSpPr>
          <p:nvPr>
            <p:ph type="body" idx="3"/>
          </p:nvPr>
        </p:nvSpPr>
        <p:spPr>
          <a:xfrm>
            <a:off x="8301525" y="1681163"/>
            <a:ext cx="3280875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Google Shape;55;p10"/>
          <p:cNvSpPr txBox="1">
            <a:spLocks noGrp="1"/>
          </p:cNvSpPr>
          <p:nvPr>
            <p:ph type="body" idx="4"/>
          </p:nvPr>
        </p:nvSpPr>
        <p:spPr>
          <a:xfrm>
            <a:off x="8301525" y="2505075"/>
            <a:ext cx="3280875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Google Shape;56;p10"/>
          <p:cNvSpPr txBox="1">
            <a:spLocks noGrp="1"/>
          </p:cNvSpPr>
          <p:nvPr>
            <p:ph type="body" idx="5"/>
          </p:nvPr>
        </p:nvSpPr>
        <p:spPr>
          <a:xfrm>
            <a:off x="4455562" y="1681163"/>
            <a:ext cx="3280876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Google Shape;57;p10"/>
          <p:cNvSpPr txBox="1">
            <a:spLocks noGrp="1"/>
          </p:cNvSpPr>
          <p:nvPr>
            <p:ph type="body" idx="6"/>
          </p:nvPr>
        </p:nvSpPr>
        <p:spPr>
          <a:xfrm>
            <a:off x="4455562" y="2505075"/>
            <a:ext cx="3280876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984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2pPr>
            <a:lvl3pPr marL="1371600" lvl="2" indent="-29527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−"/>
              <a:defRPr sz="1000"/>
            </a:lvl4pPr>
            <a:lvl5pPr marL="2286000" lvl="4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Char char="•"/>
              <a:defRPr sz="10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o bkgd">
  <p:cSld name="Title Slide no bkgd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oogle Shape;59;p11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60" name="Google Shape;60;p11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1" name="Google Shape;61;p11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2" name="Google Shape;62;p11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3" name="Google Shape;63;p11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4" name="Google Shape;64;p11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5" name="Google Shape;65;p11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6" name="Google Shape;66;p11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7" name="Google Shape;67;p11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8" name="Google Shape;68;p11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69" name="Google Shape;69;p11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0" name="Google Shape;70;p11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1" name="Google Shape;71;p11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2" name="Google Shape;72;p11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3" name="Google Shape;73;p11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4" name="Google Shape;74;p11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5" name="Google Shape;75;p11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7" name="Google Shape;77;p11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8" name="Google Shape;78;p11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79" name="Google Shape;79;p11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0" name="Google Shape;80;p11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1" name="Google Shape;81;p11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2" name="Google Shape;82;p11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3" name="Google Shape;83;p11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4" name="Google Shape;84;p11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5" name="Google Shape;85;p11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6" name="Google Shape;86;p11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7" name="Google Shape;87;p11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8" name="Google Shape;88;p11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89" name="Google Shape;89;p11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0" name="Google Shape;90;p11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1" name="Google Shape;91;p11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2" name="Google Shape;92;p11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3" name="Google Shape;93;p11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4" name="Google Shape;94;p11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5" name="Google Shape;95;p11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6" name="Google Shape;96;p11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7" name="Google Shape;97;p11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8" name="Google Shape;98;p11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99" name="Google Shape;99;p11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0" name="Google Shape;100;p11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1" name="Google Shape;101;p11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2" name="Google Shape;102;p11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3" name="Google Shape;103;p11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4" name="Google Shape;104;p11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5" name="Google Shape;105;p11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6" name="Google Shape;106;p11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7" name="Google Shape;107;p11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8" name="Google Shape;108;p11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9" name="Google Shape;109;p11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0" name="Google Shape;110;p11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1" name="Google Shape;111;p11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2" name="Google Shape;112;p11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8" name="Google Shape;118;p11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19" name="Google Shape;119;p11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0" name="Google Shape;120;p11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1" name="Google Shape;121;p11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2" name="Google Shape;122;p11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23" name="Google Shape;123;p11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24" name="Google Shape;124;p11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venir"/>
              <a:buNone/>
              <a:defRPr sz="36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5" name="Google Shape;125;p11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6" name="Google Shape;126;p11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b="0"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7" name="Google Shape;127;p11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2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ue dots bkdg">
  <p:cSld name="Title Slide blue dots bkdg">
    <p:bg>
      <p:bgPr>
        <a:solidFill>
          <a:schemeClr val="accen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2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0" name="Google Shape;130;p12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Google Shape;131;p12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32" name="Google Shape;132;p12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33" name="Google Shape;133;p12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4" name="Google Shape;134;p12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5" name="Google Shape;135;p12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6" name="Google Shape;136;p12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7" name="Google Shape;137;p12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8" name="Google Shape;138;p12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39" name="Google Shape;139;p12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0" name="Google Shape;140;p12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1" name="Google Shape;141;p12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2" name="Google Shape;142;p12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3" name="Google Shape;143;p12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4" name="Google Shape;144;p12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5" name="Google Shape;145;p12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6" name="Google Shape;146;p12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7" name="Google Shape;147;p12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8" name="Google Shape;148;p12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49" name="Google Shape;149;p12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0" name="Google Shape;150;p12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1" name="Google Shape;151;p12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2" name="Google Shape;152;p12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3" name="Google Shape;153;p12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4" name="Google Shape;154;p12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7" name="Google Shape;157;p12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8" name="Google Shape;158;p12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59" name="Google Shape;159;p12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0" name="Google Shape;160;p12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1" name="Google Shape;161;p12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2" name="Google Shape;162;p12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3" name="Google Shape;163;p12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4" name="Google Shape;164;p12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5" name="Google Shape;165;p12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6" name="Google Shape;166;p12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7" name="Google Shape;167;p12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8" name="Google Shape;168;p12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69" name="Google Shape;169;p12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0" name="Google Shape;170;p12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1" name="Google Shape;171;p12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2" name="Google Shape;172;p12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197" name="Google Shape;197;p12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dark blue bckgd">
  <p:cSld name="Title Slide dark blue bckgd">
    <p:bg>
      <p:bgPr>
        <a:solidFill>
          <a:schemeClr val="accent2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3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0" name="Google Shape;200;p13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1" name="Google Shape;201;p13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02" name="Google Shape;202;p13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03" name="Google Shape;203;p13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4" name="Google Shape;204;p13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5" name="Google Shape;205;p13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6" name="Google Shape;206;p13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7" name="Google Shape;207;p13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8" name="Google Shape;208;p13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09" name="Google Shape;209;p13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0" name="Google Shape;210;p13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1" name="Google Shape;211;p13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2" name="Google Shape;212;p13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3" name="Google Shape;213;p13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4" name="Google Shape;214;p13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5" name="Google Shape;215;p13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6" name="Google Shape;216;p13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7" name="Google Shape;217;p13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8" name="Google Shape;218;p13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19" name="Google Shape;219;p13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0" name="Google Shape;220;p13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1" name="Google Shape;221;p13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2" name="Google Shape;222;p13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3" name="Google Shape;223;p13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4" name="Google Shape;224;p13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5" name="Google Shape;225;p13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6" name="Google Shape;226;p13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7" name="Google Shape;227;p13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8" name="Google Shape;228;p13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29" name="Google Shape;229;p13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0" name="Google Shape;230;p13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1" name="Google Shape;231;p13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2" name="Google Shape;232;p13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3" name="Google Shape;233;p13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4" name="Google Shape;234;p13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5" name="Google Shape;235;p13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6" name="Google Shape;236;p13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7" name="Google Shape;237;p13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8" name="Google Shape;238;p13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39" name="Google Shape;239;p13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0" name="Google Shape;240;p13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1" name="Google Shape;241;p13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2" name="Google Shape;242;p13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3" name="Google Shape;243;p13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4" name="Google Shape;244;p13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5" name="Google Shape;245;p13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6" name="Google Shape;246;p13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7" name="Google Shape;247;p13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8" name="Google Shape;248;p13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49" name="Google Shape;249;p13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0" name="Google Shape;250;p13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1" name="Google Shape;251;p13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2" name="Google Shape;252;p13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3" name="Google Shape;253;p13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4" name="Google Shape;254;p13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5" name="Google Shape;255;p13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6" name="Google Shape;256;p13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7" name="Google Shape;257;p13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8" name="Google Shape;258;p13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59" name="Google Shape;259;p13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0" name="Google Shape;260;p13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1" name="Google Shape;261;p13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2" name="Google Shape;262;p13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3" name="Google Shape;263;p13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4" name="Google Shape;264;p13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5" name="Google Shape;265;p13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66" name="Google Shape;266;p13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267" name="Google Shape;267;p13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Slide blue dots bkdg">
  <p:cSld name="6_Title Slide blue dots bkdg">
    <p:bg>
      <p:bgPr>
        <a:solidFill>
          <a:schemeClr val="accent1"/>
        </a:solidFill>
        <a:effectLst/>
      </p:bgPr>
    </p:bg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9" name="Google Shape;269;p14" descr="Background patter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14"/>
          <p:cNvSpPr txBox="1"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venir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1" name="Google Shape;271;p14"/>
          <p:cNvSpPr txBox="1">
            <a:spLocks noGrp="1"/>
          </p:cNvSpPr>
          <p:nvPr>
            <p:ph type="body" idx="1"/>
          </p:nvPr>
        </p:nvSpPr>
        <p:spPr>
          <a:xfrm>
            <a:off x="1520386" y="3998279"/>
            <a:ext cx="4586287" cy="32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b="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2" name="Google Shape;272;p14"/>
          <p:cNvSpPr txBox="1">
            <a:spLocks noGrp="1"/>
          </p:cNvSpPr>
          <p:nvPr>
            <p:ph type="subTitle" idx="2"/>
          </p:nvPr>
        </p:nvSpPr>
        <p:spPr>
          <a:xfrm>
            <a:off x="1516830" y="3444432"/>
            <a:ext cx="9139234" cy="29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 b="0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273" name="Google Shape;273;p14"/>
          <p:cNvGrpSpPr/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274" name="Google Shape;274;p14"/>
            <p:cNvSpPr/>
            <p:nvPr/>
          </p:nvSpPr>
          <p:spPr>
            <a:xfrm>
              <a:off x="1885951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3" h="78" extrusionOk="0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5" name="Google Shape;275;p14"/>
            <p:cNvSpPr/>
            <p:nvPr/>
          </p:nvSpPr>
          <p:spPr>
            <a:xfrm>
              <a:off x="1152526" y="414338"/>
              <a:ext cx="74613" cy="87313"/>
            </a:xfrm>
            <a:custGeom>
              <a:avLst/>
              <a:gdLst/>
              <a:ahLst/>
              <a:cxnLst/>
              <a:rect l="l" t="t" r="r" b="b"/>
              <a:pathLst>
                <a:path w="89" h="106" extrusionOk="0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6" name="Google Shape;276;p14"/>
            <p:cNvSpPr/>
            <p:nvPr/>
          </p:nvSpPr>
          <p:spPr>
            <a:xfrm>
              <a:off x="1246188" y="436563"/>
              <a:ext cx="34925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7" name="Google Shape;277;p14"/>
            <p:cNvSpPr/>
            <p:nvPr/>
          </p:nvSpPr>
          <p:spPr>
            <a:xfrm>
              <a:off x="1284288" y="438150"/>
              <a:ext cx="60325" cy="63500"/>
            </a:xfrm>
            <a:custGeom>
              <a:avLst/>
              <a:gdLst/>
              <a:ahLst/>
              <a:cxnLst/>
              <a:rect l="l" t="t" r="r" b="b"/>
              <a:pathLst>
                <a:path w="72" h="78" extrusionOk="0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8" name="Google Shape;278;p14"/>
            <p:cNvSpPr/>
            <p:nvPr/>
          </p:nvSpPr>
          <p:spPr>
            <a:xfrm>
              <a:off x="1350963" y="438150"/>
              <a:ext cx="90488" cy="61913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79" name="Google Shape;279;p14"/>
            <p:cNvSpPr/>
            <p:nvPr/>
          </p:nvSpPr>
          <p:spPr>
            <a:xfrm>
              <a:off x="1446213" y="422275"/>
              <a:ext cx="38100" cy="79375"/>
            </a:xfrm>
            <a:custGeom>
              <a:avLst/>
              <a:gdLst/>
              <a:ahLst/>
              <a:cxnLst/>
              <a:rect l="l" t="t" r="r" b="b"/>
              <a:pathLst>
                <a:path w="46" h="97" extrusionOk="0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0" name="Google Shape;280;p14"/>
            <p:cNvSpPr/>
            <p:nvPr/>
          </p:nvSpPr>
          <p:spPr>
            <a:xfrm>
              <a:off x="1497013" y="412750"/>
              <a:ext cx="52388" cy="87313"/>
            </a:xfrm>
            <a:custGeom>
              <a:avLst/>
              <a:gdLst/>
              <a:ahLst/>
              <a:cxnLst/>
              <a:rect l="l" t="t" r="r" b="b"/>
              <a:pathLst>
                <a:path w="64" h="106" extrusionOk="0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1" name="Google Shape;281;p14"/>
            <p:cNvSpPr/>
            <p:nvPr/>
          </p:nvSpPr>
          <p:spPr>
            <a:xfrm>
              <a:off x="1581151" y="415925"/>
              <a:ext cx="77788" cy="84138"/>
            </a:xfrm>
            <a:custGeom>
              <a:avLst/>
              <a:gdLst/>
              <a:ahLst/>
              <a:cxnLst/>
              <a:rect l="l" t="t" r="r" b="b"/>
              <a:pathLst>
                <a:path w="49" h="53" extrusionOk="0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2" name="Google Shape;282;p14"/>
            <p:cNvSpPr/>
            <p:nvPr/>
          </p:nvSpPr>
          <p:spPr>
            <a:xfrm>
              <a:off x="1663701" y="412750"/>
              <a:ext cx="58738" cy="88900"/>
            </a:xfrm>
            <a:custGeom>
              <a:avLst/>
              <a:gdLst/>
              <a:ahLst/>
              <a:cxnLst/>
              <a:rect l="l" t="t" r="r" b="b"/>
              <a:pathLst>
                <a:path w="71" h="108" extrusionOk="0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3" name="Google Shape;283;p14"/>
            <p:cNvSpPr/>
            <p:nvPr/>
          </p:nvSpPr>
          <p:spPr>
            <a:xfrm>
              <a:off x="1733551" y="438150"/>
              <a:ext cx="60325" cy="61913"/>
            </a:xfrm>
            <a:custGeom>
              <a:avLst/>
              <a:gdLst/>
              <a:ahLst/>
              <a:cxnLst/>
              <a:rect l="l" t="t" r="r" b="b"/>
              <a:pathLst>
                <a:path w="38" h="39" extrusionOk="0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4" name="Google Shape;284;p14"/>
            <p:cNvSpPr/>
            <p:nvPr/>
          </p:nvSpPr>
          <p:spPr>
            <a:xfrm>
              <a:off x="1801813" y="411163"/>
              <a:ext cx="15875" cy="14288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5" name="Google Shape;285;p14"/>
            <p:cNvSpPr/>
            <p:nvPr/>
          </p:nvSpPr>
          <p:spPr>
            <a:xfrm>
              <a:off x="1804988" y="438150"/>
              <a:ext cx="11113" cy="61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6" name="Google Shape;286;p14"/>
            <p:cNvSpPr/>
            <p:nvPr/>
          </p:nvSpPr>
          <p:spPr>
            <a:xfrm>
              <a:off x="1828801" y="436563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59" h="79" extrusionOk="0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7" name="Google Shape;287;p14"/>
            <p:cNvSpPr/>
            <p:nvPr/>
          </p:nvSpPr>
          <p:spPr>
            <a:xfrm>
              <a:off x="1960563" y="436563"/>
              <a:ext cx="36513" cy="63500"/>
            </a:xfrm>
            <a:custGeom>
              <a:avLst/>
              <a:gdLst/>
              <a:ahLst/>
              <a:cxnLst/>
              <a:rect l="l" t="t" r="r" b="b"/>
              <a:pathLst>
                <a:path w="43" h="77" extrusionOk="0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8" name="Google Shape;288;p14"/>
            <p:cNvSpPr/>
            <p:nvPr/>
          </p:nvSpPr>
          <p:spPr>
            <a:xfrm>
              <a:off x="2000251" y="438150"/>
              <a:ext cx="58738" cy="85725"/>
            </a:xfrm>
            <a:custGeom>
              <a:avLst/>
              <a:gdLst/>
              <a:ahLst/>
              <a:cxnLst/>
              <a:rect l="l" t="t" r="r" b="b"/>
              <a:pathLst>
                <a:path w="72" h="103" extrusionOk="0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1547813" y="-96838"/>
              <a:ext cx="352425" cy="422275"/>
            </a:xfrm>
            <a:custGeom>
              <a:avLst/>
              <a:gdLst/>
              <a:ahLst/>
              <a:cxnLst/>
              <a:rect l="l" t="t" r="r" b="b"/>
              <a:pathLst>
                <a:path w="425" h="510" extrusionOk="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0" name="Google Shape;290;p14"/>
            <p:cNvSpPr/>
            <p:nvPr/>
          </p:nvSpPr>
          <p:spPr>
            <a:xfrm>
              <a:off x="1139826" y="-103188"/>
              <a:ext cx="347663" cy="436563"/>
            </a:xfrm>
            <a:custGeom>
              <a:avLst/>
              <a:gdLst/>
              <a:ahLst/>
              <a:cxnLst/>
              <a:rect l="l" t="t" r="r" b="b"/>
              <a:pathLst>
                <a:path w="420" h="527" extrusionOk="0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1" name="Google Shape;291;p14"/>
            <p:cNvSpPr/>
            <p:nvPr/>
          </p:nvSpPr>
          <p:spPr>
            <a:xfrm>
              <a:off x="1968501" y="-96838"/>
              <a:ext cx="88900" cy="42227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2" name="Google Shape;292;p14"/>
            <p:cNvSpPr/>
            <p:nvPr/>
          </p:nvSpPr>
          <p:spPr>
            <a:xfrm>
              <a:off x="2498726" y="-31750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3" name="Google Shape;293;p14"/>
            <p:cNvSpPr/>
            <p:nvPr/>
          </p:nvSpPr>
          <p:spPr>
            <a:xfrm>
              <a:off x="2611438" y="-3175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4" name="Google Shape;294;p14"/>
            <p:cNvSpPr/>
            <p:nvPr/>
          </p:nvSpPr>
          <p:spPr>
            <a:xfrm>
              <a:off x="2670176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5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5" name="Google Shape;295;p14"/>
            <p:cNvSpPr/>
            <p:nvPr/>
          </p:nvSpPr>
          <p:spPr>
            <a:xfrm>
              <a:off x="2701926" y="-1588"/>
              <a:ext cx="80963" cy="82550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6" name="Google Shape;296;p14"/>
            <p:cNvSpPr/>
            <p:nvPr/>
          </p:nvSpPr>
          <p:spPr>
            <a:xfrm>
              <a:off x="2789238" y="-3175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7" name="Google Shape;297;p14"/>
            <p:cNvSpPr/>
            <p:nvPr/>
          </p:nvSpPr>
          <p:spPr>
            <a:xfrm>
              <a:off x="2882901" y="-3175"/>
              <a:ext cx="68263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8" name="Google Shape;298;p14"/>
            <p:cNvSpPr/>
            <p:nvPr/>
          </p:nvSpPr>
          <p:spPr>
            <a:xfrm>
              <a:off x="3006726" y="-34925"/>
              <a:ext cx="79375" cy="117475"/>
            </a:xfrm>
            <a:custGeom>
              <a:avLst/>
              <a:gdLst/>
              <a:ahLst/>
              <a:cxnLst/>
              <a:rect l="l" t="t" r="r" b="b"/>
              <a:pathLst>
                <a:path w="95" h="142" extrusionOk="0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299" name="Google Shape;299;p14"/>
            <p:cNvSpPr/>
            <p:nvPr/>
          </p:nvSpPr>
          <p:spPr>
            <a:xfrm>
              <a:off x="3094038" y="-1588"/>
              <a:ext cx="79375" cy="114300"/>
            </a:xfrm>
            <a:custGeom>
              <a:avLst/>
              <a:gdLst/>
              <a:ahLst/>
              <a:cxnLst/>
              <a:rect l="l" t="t" r="r" b="b"/>
              <a:pathLst>
                <a:path w="96" h="136" extrusionOk="0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0" name="Google Shape;300;p14"/>
            <p:cNvSpPr/>
            <p:nvPr/>
          </p:nvSpPr>
          <p:spPr>
            <a:xfrm>
              <a:off x="3219451" y="-31750"/>
              <a:ext cx="17463" cy="1127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1" name="Google Shape;301;p14"/>
            <p:cNvSpPr/>
            <p:nvPr/>
          </p:nvSpPr>
          <p:spPr>
            <a:xfrm>
              <a:off x="3263901" y="-3175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2" name="Google Shape;302;p14"/>
            <p:cNvSpPr/>
            <p:nvPr/>
          </p:nvSpPr>
          <p:spPr>
            <a:xfrm>
              <a:off x="334962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3" name="Google Shape;303;p14"/>
            <p:cNvSpPr/>
            <p:nvPr/>
          </p:nvSpPr>
          <p:spPr>
            <a:xfrm>
              <a:off x="3429001" y="-36513"/>
              <a:ext cx="20638" cy="117475"/>
            </a:xfrm>
            <a:custGeom>
              <a:avLst/>
              <a:gdLst/>
              <a:ahLst/>
              <a:cxnLst/>
              <a:rect l="l" t="t" r="r" b="b"/>
              <a:pathLst>
                <a:path w="26" h="143" extrusionOk="0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4" name="Google Shape;304;p14"/>
            <p:cNvSpPr/>
            <p:nvPr/>
          </p:nvSpPr>
          <p:spPr>
            <a:xfrm>
              <a:off x="3465513" y="-3175"/>
              <a:ext cx="77788" cy="115888"/>
            </a:xfrm>
            <a:custGeom>
              <a:avLst/>
              <a:gdLst/>
              <a:ahLst/>
              <a:cxnLst/>
              <a:rect l="l" t="t" r="r" b="b"/>
              <a:pathLst>
                <a:path w="94" h="138" extrusionOk="0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5" name="Google Shape;305;p14"/>
            <p:cNvSpPr/>
            <p:nvPr/>
          </p:nvSpPr>
          <p:spPr>
            <a:xfrm>
              <a:off x="3568701" y="-34925"/>
              <a:ext cx="69850" cy="115888"/>
            </a:xfrm>
            <a:custGeom>
              <a:avLst/>
              <a:gdLst/>
              <a:ahLst/>
              <a:cxnLst/>
              <a:rect l="l" t="t" r="r" b="b"/>
              <a:pathLst>
                <a:path w="85" h="141" extrusionOk="0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6" name="Google Shape;306;p14"/>
            <p:cNvSpPr/>
            <p:nvPr/>
          </p:nvSpPr>
          <p:spPr>
            <a:xfrm>
              <a:off x="3654426" y="-23813"/>
              <a:ext cx="50800" cy="106363"/>
            </a:xfrm>
            <a:custGeom>
              <a:avLst/>
              <a:gdLst/>
              <a:ahLst/>
              <a:cxnLst/>
              <a:rect l="l" t="t" r="r" b="b"/>
              <a:pathLst>
                <a:path w="61" h="128" extrusionOk="0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7" name="Google Shape;307;p14"/>
            <p:cNvSpPr/>
            <p:nvPr/>
          </p:nvSpPr>
          <p:spPr>
            <a:xfrm>
              <a:off x="3711576" y="-3175"/>
              <a:ext cx="63500" cy="85725"/>
            </a:xfrm>
            <a:custGeom>
              <a:avLst/>
              <a:gdLst/>
              <a:ahLst/>
              <a:cxnLst/>
              <a:rect l="l" t="t" r="r" b="b"/>
              <a:pathLst>
                <a:path w="78" h="103" extrusionOk="0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8" name="Google Shape;308;p14"/>
            <p:cNvSpPr/>
            <p:nvPr/>
          </p:nvSpPr>
          <p:spPr>
            <a:xfrm>
              <a:off x="2498726" y="157163"/>
              <a:ext cx="93663" cy="112713"/>
            </a:xfrm>
            <a:custGeom>
              <a:avLst/>
              <a:gdLst/>
              <a:ahLst/>
              <a:cxnLst/>
              <a:rect l="l" t="t" r="r" b="b"/>
              <a:pathLst>
                <a:path w="113" h="136" extrusionOk="0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09" name="Google Shape;309;p14"/>
            <p:cNvSpPr/>
            <p:nvPr/>
          </p:nvSpPr>
          <p:spPr>
            <a:xfrm>
              <a:off x="26050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0" name="Google Shape;310;p14"/>
            <p:cNvSpPr/>
            <p:nvPr/>
          </p:nvSpPr>
          <p:spPr>
            <a:xfrm>
              <a:off x="2697163" y="153988"/>
              <a:ext cx="15875" cy="115888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1" name="Google Shape;311;p14"/>
            <p:cNvSpPr/>
            <p:nvPr/>
          </p:nvSpPr>
          <p:spPr>
            <a:xfrm>
              <a:off x="2736851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5" h="144" extrusionOk="0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2" name="Google Shape;312;p14"/>
            <p:cNvSpPr/>
            <p:nvPr/>
          </p:nvSpPr>
          <p:spPr>
            <a:xfrm>
              <a:off x="2768601" y="188913"/>
              <a:ext cx="79375" cy="80963"/>
            </a:xfrm>
            <a:custGeom>
              <a:avLst/>
              <a:gdLst/>
              <a:ahLst/>
              <a:cxnLst/>
              <a:rect l="l" t="t" r="r" b="b"/>
              <a:pathLst>
                <a:path w="50" h="51" extrusionOk="0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3" name="Google Shape;313;p14"/>
            <p:cNvSpPr/>
            <p:nvPr/>
          </p:nvSpPr>
          <p:spPr>
            <a:xfrm>
              <a:off x="28559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4" name="Google Shape;314;p14"/>
            <p:cNvSpPr/>
            <p:nvPr/>
          </p:nvSpPr>
          <p:spPr>
            <a:xfrm>
              <a:off x="2947988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5" name="Google Shape;315;p14"/>
            <p:cNvSpPr/>
            <p:nvPr/>
          </p:nvSpPr>
          <p:spPr>
            <a:xfrm>
              <a:off x="2998788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6" name="Google Shape;316;p14"/>
            <p:cNvSpPr/>
            <p:nvPr/>
          </p:nvSpPr>
          <p:spPr>
            <a:xfrm>
              <a:off x="3084513" y="153988"/>
              <a:ext cx="77788" cy="117475"/>
            </a:xfrm>
            <a:custGeom>
              <a:avLst/>
              <a:gdLst/>
              <a:ahLst/>
              <a:cxnLst/>
              <a:rect l="l" t="t" r="r" b="b"/>
              <a:pathLst>
                <a:path w="94" h="143" extrusionOk="0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7" name="Google Shape;317;p14"/>
            <p:cNvSpPr/>
            <p:nvPr/>
          </p:nvSpPr>
          <p:spPr>
            <a:xfrm>
              <a:off x="3209926" y="152400"/>
              <a:ext cx="53975" cy="117475"/>
            </a:xfrm>
            <a:custGeom>
              <a:avLst/>
              <a:gdLst/>
              <a:ahLst/>
              <a:cxnLst/>
              <a:rect l="l" t="t" r="r" b="b"/>
              <a:pathLst>
                <a:path w="64" h="142" extrusionOk="0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8" name="Google Shape;318;p14"/>
            <p:cNvSpPr/>
            <p:nvPr/>
          </p:nvSpPr>
          <p:spPr>
            <a:xfrm>
              <a:off x="3270251" y="185738"/>
              <a:ext cx="46038" cy="84138"/>
            </a:xfrm>
            <a:custGeom>
              <a:avLst/>
              <a:gdLst/>
              <a:ahLst/>
              <a:cxnLst/>
              <a:rect l="l" t="t" r="r" b="b"/>
              <a:pathLst>
                <a:path w="56" h="101" extrusionOk="0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19" name="Google Shape;319;p14"/>
            <p:cNvSpPr/>
            <p:nvPr/>
          </p:nvSpPr>
          <p:spPr>
            <a:xfrm>
              <a:off x="3321051" y="185738"/>
              <a:ext cx="79375" cy="85725"/>
            </a:xfrm>
            <a:custGeom>
              <a:avLst/>
              <a:gdLst/>
              <a:ahLst/>
              <a:cxnLst/>
              <a:rect l="l" t="t" r="r" b="b"/>
              <a:pathLst>
                <a:path w="96" h="102" extrusionOk="0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0" name="Google Shape;320;p14"/>
            <p:cNvSpPr/>
            <p:nvPr/>
          </p:nvSpPr>
          <p:spPr>
            <a:xfrm>
              <a:off x="3419476" y="185738"/>
              <a:ext cx="117475" cy="84138"/>
            </a:xfrm>
            <a:custGeom>
              <a:avLst/>
              <a:gdLst/>
              <a:ahLst/>
              <a:cxnLst/>
              <a:rect l="l" t="t" r="r" b="b"/>
              <a:pathLst>
                <a:path w="142" h="101" extrusionOk="0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1" name="Google Shape;321;p14"/>
            <p:cNvSpPr/>
            <p:nvPr/>
          </p:nvSpPr>
          <p:spPr>
            <a:xfrm>
              <a:off x="3594101" y="157163"/>
              <a:ext cx="69850" cy="112713"/>
            </a:xfrm>
            <a:custGeom>
              <a:avLst/>
              <a:gdLst/>
              <a:ahLst/>
              <a:cxnLst/>
              <a:rect l="l" t="t" r="r" b="b"/>
              <a:pathLst>
                <a:path w="44" h="71" extrusionOk="0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2" name="Google Shape;322;p14"/>
            <p:cNvSpPr/>
            <p:nvPr/>
          </p:nvSpPr>
          <p:spPr>
            <a:xfrm>
              <a:off x="3671888" y="188913"/>
              <a:ext cx="77788" cy="80963"/>
            </a:xfrm>
            <a:custGeom>
              <a:avLst/>
              <a:gdLst/>
              <a:ahLst/>
              <a:cxnLst/>
              <a:rect l="l" t="t" r="r" b="b"/>
              <a:pathLst>
                <a:path w="49" h="51" extrusionOk="0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3" name="Google Shape;323;p14"/>
            <p:cNvSpPr/>
            <p:nvPr/>
          </p:nvSpPr>
          <p:spPr>
            <a:xfrm>
              <a:off x="3763963" y="185738"/>
              <a:ext cx="77788" cy="114300"/>
            </a:xfrm>
            <a:custGeom>
              <a:avLst/>
              <a:gdLst/>
              <a:ahLst/>
              <a:cxnLst/>
              <a:rect l="l" t="t" r="r" b="b"/>
              <a:pathLst>
                <a:path w="94" h="136" extrusionOk="0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4" name="Google Shape;324;p14"/>
            <p:cNvSpPr/>
            <p:nvPr/>
          </p:nvSpPr>
          <p:spPr>
            <a:xfrm>
              <a:off x="385286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5" name="Google Shape;325;p14"/>
            <p:cNvSpPr/>
            <p:nvPr/>
          </p:nvSpPr>
          <p:spPr>
            <a:xfrm>
              <a:off x="3946526" y="185738"/>
              <a:ext cx="47625" cy="84138"/>
            </a:xfrm>
            <a:custGeom>
              <a:avLst/>
              <a:gdLst/>
              <a:ahLst/>
              <a:cxnLst/>
              <a:rect l="l" t="t" r="r" b="b"/>
              <a:pathLst>
                <a:path w="57" h="101" extrusionOk="0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6" name="Google Shape;326;p14"/>
            <p:cNvSpPr/>
            <p:nvPr/>
          </p:nvSpPr>
          <p:spPr>
            <a:xfrm>
              <a:off x="4005263" y="150813"/>
              <a:ext cx="20638" cy="119063"/>
            </a:xfrm>
            <a:custGeom>
              <a:avLst/>
              <a:gdLst/>
              <a:ahLst/>
              <a:cxnLst/>
              <a:rect l="l" t="t" r="r" b="b"/>
              <a:pathLst>
                <a:path w="26" h="144" extrusionOk="0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7" name="Google Shape;327;p14"/>
            <p:cNvSpPr/>
            <p:nvPr/>
          </p:nvSpPr>
          <p:spPr>
            <a:xfrm>
              <a:off x="4041776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8" name="Google Shape;328;p14"/>
            <p:cNvSpPr/>
            <p:nvPr/>
          </p:nvSpPr>
          <p:spPr>
            <a:xfrm>
              <a:off x="4135438" y="185738"/>
              <a:ext cx="69850" cy="84138"/>
            </a:xfrm>
            <a:custGeom>
              <a:avLst/>
              <a:gdLst/>
              <a:ahLst/>
              <a:cxnLst/>
              <a:rect l="l" t="t" r="r" b="b"/>
              <a:pathLst>
                <a:path w="84" h="101" extrusionOk="0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9" name="Google Shape;329;p14"/>
            <p:cNvSpPr/>
            <p:nvPr/>
          </p:nvSpPr>
          <p:spPr>
            <a:xfrm>
              <a:off x="4221163" y="185738"/>
              <a:ext cx="71438" cy="85725"/>
            </a:xfrm>
            <a:custGeom>
              <a:avLst/>
              <a:gdLst/>
              <a:ahLst/>
              <a:cxnLst/>
              <a:rect l="l" t="t" r="r" b="b"/>
              <a:pathLst>
                <a:path w="86" h="103" extrusionOk="0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0" name="Google Shape;330;p14"/>
            <p:cNvSpPr/>
            <p:nvPr/>
          </p:nvSpPr>
          <p:spPr>
            <a:xfrm>
              <a:off x="4303713" y="185738"/>
              <a:ext cx="74613" cy="85725"/>
            </a:xfrm>
            <a:custGeom>
              <a:avLst/>
              <a:gdLst/>
              <a:ahLst/>
              <a:cxnLst/>
              <a:rect l="l" t="t" r="r" b="b"/>
              <a:pathLst>
                <a:path w="90" h="103" extrusionOk="0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1" name="Google Shape;331;p14"/>
            <p:cNvSpPr/>
            <p:nvPr/>
          </p:nvSpPr>
          <p:spPr>
            <a:xfrm>
              <a:off x="2271713" y="-269875"/>
              <a:ext cx="12700" cy="7731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2" name="Google Shape;332;p14"/>
            <p:cNvSpPr/>
            <p:nvPr/>
          </p:nvSpPr>
          <p:spPr>
            <a:xfrm>
              <a:off x="911226" y="-279400"/>
              <a:ext cx="119063" cy="120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3" name="Google Shape;333;p14"/>
            <p:cNvSpPr/>
            <p:nvPr/>
          </p:nvSpPr>
          <p:spPr>
            <a:xfrm>
              <a:off x="752476" y="-269875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4" name="Google Shape;334;p14"/>
            <p:cNvSpPr/>
            <p:nvPr/>
          </p:nvSpPr>
          <p:spPr>
            <a:xfrm>
              <a:off x="919163" y="-103188"/>
              <a:ext cx="101600" cy="10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5" name="Google Shape;335;p14"/>
            <p:cNvSpPr/>
            <p:nvPr/>
          </p:nvSpPr>
          <p:spPr>
            <a:xfrm>
              <a:off x="927101" y="53975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6" name="Google Shape;336;p14"/>
            <p:cNvSpPr/>
            <p:nvPr/>
          </p:nvSpPr>
          <p:spPr>
            <a:xfrm>
              <a:off x="760413" y="-95250"/>
              <a:ext cx="87313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7" name="Google Shape;337;p14"/>
            <p:cNvSpPr/>
            <p:nvPr/>
          </p:nvSpPr>
          <p:spPr>
            <a:xfrm>
              <a:off x="611188" y="-261938"/>
              <a:ext cx="85725" cy="87313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sp>
        <p:nvSpPr>
          <p:cNvPr id="338" name="Google Shape;338;p14"/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9DB2CE-FA65-4766-54B1-891309B84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300903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9DB2CE-FA65-4766-54B1-891309B84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venir"/>
              <a:buNone/>
              <a:defRPr sz="2400" b="1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ourier New"/>
              <a:buChar char="o"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venir"/>
              <a:buChar char="−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cxnSp>
        <p:nvCxnSpPr>
          <p:cNvPr id="12" name="Google Shape;12;p4"/>
          <p:cNvCxnSpPr/>
          <p:nvPr/>
        </p:nvCxnSpPr>
        <p:spPr>
          <a:xfrm>
            <a:off x="576393" y="-1905"/>
            <a:ext cx="0" cy="846841"/>
          </a:xfrm>
          <a:prstGeom prst="straightConnector1">
            <a:avLst/>
          </a:prstGeom>
          <a:noFill/>
          <a:ln w="635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13;p4"/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100" b="0" i="0" u="none" strike="noStrike" cap="none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14" name="Google Shape;14;p4" descr="Logo&#10;&#10;Description automatically generated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620110" y="6400942"/>
            <a:ext cx="620111" cy="262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4"/>
          <p:cNvSpPr txBox="1">
            <a:spLocks noGrp="1"/>
          </p:cNvSpPr>
          <p:nvPr>
            <p:ph type="ftr" idx="11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1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sp>
        <p:nvSpPr>
          <p:cNvPr id="16" name="Google Shape;16;p4"/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rgbClr val="A0A0A0"/>
                </a:solidFill>
                <a:latin typeface="Avenir"/>
                <a:ea typeface="Avenir"/>
                <a:cs typeface="Avenir"/>
                <a:sym typeface="Avenir"/>
              </a:rPr>
              <a:t>Includes content supplied by Sales Benchmark Index; Copyright © Sales Benchmark Index, 2023</a:t>
            </a:r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70" r:id="rId17"/>
    <p:sldLayoutId id="2147483671" r:id="rId18"/>
    <p:sldLayoutId id="2147483672" r:id="rId19"/>
    <p:sldLayoutId id="2147483673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chart" Target="../charts/chart5.xml"/><Relationship Id="rId4" Type="http://schemas.openxmlformats.org/officeDocument/2006/relationships/tags" Target="../tags/tag36.xml"/><Relationship Id="rId9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2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chart" Target="../charts/chart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chart" Target="../charts/char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7.emf"/><Relationship Id="rId11" Type="http://schemas.openxmlformats.org/officeDocument/2006/relationships/image" Target="../media/image22.png"/><Relationship Id="rId5" Type="http://schemas.openxmlformats.org/officeDocument/2006/relationships/image" Target="../media/image16.emf"/><Relationship Id="rId10" Type="http://schemas.openxmlformats.org/officeDocument/2006/relationships/image" Target="../media/image21.png"/><Relationship Id="rId4" Type="http://schemas.openxmlformats.org/officeDocument/2006/relationships/image" Target="../media/image15.emf"/><Relationship Id="rId9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9F94264-0E21-97C9-8E59-CDA5A8F1C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505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9F94264-0E21-97C9-8E59-CDA5A8F1C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07B5BC-1ABC-B2AC-D3CA-4C7C0205B0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0"/>
              </a:rPr>
              <a:t>Delivering Sales Velocity: A Quantitative Study of Seller Approaches</a:t>
            </a:r>
          </a:p>
        </p:txBody>
      </p:sp>
    </p:spTree>
    <p:extLst>
      <p:ext uri="{BB962C8B-B14F-4D97-AF65-F5344CB8AC3E}">
        <p14:creationId xmlns:p14="http://schemas.microsoft.com/office/powerpoint/2010/main" val="17256478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8799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1303283" y="6405643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31FC6-AC72-5E98-70F6-8E37A926E3EF}"/>
              </a:ext>
            </a:extLst>
          </p:cNvPr>
          <p:cNvSpPr txBox="1"/>
          <p:nvPr/>
        </p:nvSpPr>
        <p:spPr>
          <a:xfrm>
            <a:off x="4453479" y="4384498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7B2EE3-6535-3029-4FEE-BC308E7D5550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D20FEA-E057-92D7-28E3-7BD7E28C7FE1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78CE3D-9CB5-D0D3-094E-EC7C64E76CBA}"/>
              </a:ext>
            </a:extLst>
          </p:cNvPr>
          <p:cNvSpPr txBox="1"/>
          <p:nvPr/>
        </p:nvSpPr>
        <p:spPr>
          <a:xfrm>
            <a:off x="417934" y="4309789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52E69-ABFF-00D9-3E19-82EAF05CCA80}"/>
              </a:ext>
            </a:extLst>
          </p:cNvPr>
          <p:cNvSpPr/>
          <p:nvPr/>
        </p:nvSpPr>
        <p:spPr>
          <a:xfrm>
            <a:off x="2697174" y="1583981"/>
            <a:ext cx="6072777" cy="2698000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Shares insights to prompt discussions (e.g., via social media)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Maintains a regular cadence of sharing marketing content with buyers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Re-posts marketing info (e.g., via social media)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Tailors outreach in interactions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Gets more targeted with follow-ups to non-responsive buyers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Leverages entire professional network for access and returning favors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Involves Marketing to align messaging</a:t>
            </a:r>
          </a:p>
          <a:p>
            <a:pPr marL="114300" lvl="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Maintains regular cadence with Marketing to understand what will resonate with buyers</a:t>
            </a:r>
          </a:p>
          <a:p>
            <a:pPr marL="114300" lvl="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D44065-CCEF-1BB2-A332-70129BCC0A21}"/>
              </a:ext>
            </a:extLst>
          </p:cNvPr>
          <p:cNvSpPr txBox="1"/>
          <p:nvPr/>
        </p:nvSpPr>
        <p:spPr>
          <a:xfrm>
            <a:off x="9008583" y="2112010"/>
            <a:ext cx="1551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pplies an insight-led postur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B216A770-CCDC-2AB3-45F4-520979075240}"/>
              </a:ext>
            </a:extLst>
          </p:cNvPr>
          <p:cNvSpPr/>
          <p:nvPr/>
        </p:nvSpPr>
        <p:spPr>
          <a:xfrm>
            <a:off x="8779982" y="2012657"/>
            <a:ext cx="181483" cy="73602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F18E204-E788-731F-887D-13CE78802EA4}"/>
              </a:ext>
            </a:extLst>
          </p:cNvPr>
          <p:cNvSpPr txBox="1"/>
          <p:nvPr/>
        </p:nvSpPr>
        <p:spPr>
          <a:xfrm>
            <a:off x="9054178" y="3045464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ailors insights to buyer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DAFD7006-80DA-41D7-986A-C77959F90E30}"/>
              </a:ext>
            </a:extLst>
          </p:cNvPr>
          <p:cNvSpPr/>
          <p:nvPr/>
        </p:nvSpPr>
        <p:spPr>
          <a:xfrm>
            <a:off x="8779983" y="2770196"/>
            <a:ext cx="171450" cy="73693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0EE5F6-BCF0-7D37-B998-7A48E458E01E}"/>
              </a:ext>
            </a:extLst>
          </p:cNvPr>
          <p:cNvSpPr txBox="1"/>
          <p:nvPr/>
        </p:nvSpPr>
        <p:spPr>
          <a:xfrm>
            <a:off x="9008583" y="3602278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s with Marketing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43423910-F5AF-0235-5CE3-4AB2CB73F52A}"/>
              </a:ext>
            </a:extLst>
          </p:cNvPr>
          <p:cNvSpPr/>
          <p:nvPr/>
        </p:nvSpPr>
        <p:spPr>
          <a:xfrm>
            <a:off x="8779982" y="3534772"/>
            <a:ext cx="171450" cy="5291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2FDB88-CEB1-DEAD-352F-78F9985C60B7}"/>
              </a:ext>
            </a:extLst>
          </p:cNvPr>
          <p:cNvCxnSpPr>
            <a:cxnSpLocks/>
          </p:cNvCxnSpPr>
          <p:nvPr/>
        </p:nvCxnSpPr>
        <p:spPr>
          <a:xfrm>
            <a:off x="2772274" y="2770196"/>
            <a:ext cx="5694305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949AC6A-F0D8-10EE-0EFA-EE8AA3BA5381}"/>
              </a:ext>
            </a:extLst>
          </p:cNvPr>
          <p:cNvCxnSpPr>
            <a:cxnSpLocks/>
          </p:cNvCxnSpPr>
          <p:nvPr/>
        </p:nvCxnSpPr>
        <p:spPr>
          <a:xfrm>
            <a:off x="2772274" y="3507129"/>
            <a:ext cx="5694305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1297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1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65076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82BC7D-DE0A-1BB1-DE8B-FB3E5DDC5920}"/>
              </a:ext>
            </a:extLst>
          </p:cNvPr>
          <p:cNvSpPr txBox="1"/>
          <p:nvPr/>
        </p:nvSpPr>
        <p:spPr>
          <a:xfrm>
            <a:off x="6276497" y="4485250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123DB3-9B33-B67B-95A0-9434191284E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5B01CA-E32F-FB42-A4F6-C1291A841E46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4D8B29-0685-D7E6-4B6E-EC479983A064}"/>
              </a:ext>
            </a:extLst>
          </p:cNvPr>
          <p:cNvSpPr txBox="1"/>
          <p:nvPr/>
        </p:nvSpPr>
        <p:spPr>
          <a:xfrm>
            <a:off x="514358" y="4492240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BF4B0F-D833-4AA4-DE02-B6A6422C83BB}"/>
              </a:ext>
            </a:extLst>
          </p:cNvPr>
          <p:cNvSpPr/>
          <p:nvPr/>
        </p:nvSpPr>
        <p:spPr>
          <a:xfrm>
            <a:off x="4787153" y="1608973"/>
            <a:ext cx="5533565" cy="28520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114300" marR="0" lvl="0" indent="-11430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Outlines business case data needs before asking customer for data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Quantifies the magnitude of challenge in business case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Quantifies the impact the buyer can expect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Quantifies the value of the solution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Learns the dynamics of the BDT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Researches and learns about changes and trends in buyer's industries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Positions solutions in tailored and contextual way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Uses visual tools and frameworks with the buyer</a:t>
            </a:r>
          </a:p>
          <a:p>
            <a:pPr marL="114300" indent="-11430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Justifies costs based on the value to be gain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3F2CF8-DA7F-FD79-0919-96E3976D7C9A}"/>
              </a:ext>
            </a:extLst>
          </p:cNvPr>
          <p:cNvSpPr txBox="1"/>
          <p:nvPr/>
        </p:nvSpPr>
        <p:spPr>
          <a:xfrm>
            <a:off x="10522430" y="2257905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Denominates in buyer data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DD8FC2C7-B49D-3237-1462-DB99D98EBBEB}"/>
              </a:ext>
            </a:extLst>
          </p:cNvPr>
          <p:cNvSpPr/>
          <p:nvPr/>
        </p:nvSpPr>
        <p:spPr>
          <a:xfrm>
            <a:off x="10405153" y="2114978"/>
            <a:ext cx="144818" cy="9428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C69DEBAF-052E-B6B8-BCD1-204B44816D65}"/>
              </a:ext>
            </a:extLst>
          </p:cNvPr>
          <p:cNvSpPr/>
          <p:nvPr/>
        </p:nvSpPr>
        <p:spPr>
          <a:xfrm>
            <a:off x="10405152" y="3857520"/>
            <a:ext cx="144818" cy="5334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227276-8079-F709-7DB1-3CE8D0826B18}"/>
              </a:ext>
            </a:extLst>
          </p:cNvPr>
          <p:cNvSpPr txBox="1"/>
          <p:nvPr/>
        </p:nvSpPr>
        <p:spPr>
          <a:xfrm>
            <a:off x="10549970" y="3842799"/>
            <a:ext cx="1437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implifies complex message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25F8949D-98EE-BD39-9D9A-0E2A981E5CBF}"/>
              </a:ext>
            </a:extLst>
          </p:cNvPr>
          <p:cNvSpPr/>
          <p:nvPr/>
        </p:nvSpPr>
        <p:spPr>
          <a:xfrm>
            <a:off x="10406512" y="3099075"/>
            <a:ext cx="144818" cy="64633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69F141B-D366-8182-0C64-AFAC652C234D}"/>
              </a:ext>
            </a:extLst>
          </p:cNvPr>
          <p:cNvSpPr txBox="1"/>
          <p:nvPr/>
        </p:nvSpPr>
        <p:spPr>
          <a:xfrm>
            <a:off x="10549970" y="3056016"/>
            <a:ext cx="1437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ositions with meaningful contex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1386AC-4D2D-9BE9-14DB-A5D4479C0E35}"/>
              </a:ext>
            </a:extLst>
          </p:cNvPr>
          <p:cNvCxnSpPr>
            <a:cxnSpLocks/>
          </p:cNvCxnSpPr>
          <p:nvPr/>
        </p:nvCxnSpPr>
        <p:spPr>
          <a:xfrm>
            <a:off x="4945009" y="3057798"/>
            <a:ext cx="5210210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293867E-A001-3BC4-BCD8-51A4FBD2C8EF}"/>
              </a:ext>
            </a:extLst>
          </p:cNvPr>
          <p:cNvCxnSpPr>
            <a:cxnSpLocks/>
          </p:cNvCxnSpPr>
          <p:nvPr/>
        </p:nvCxnSpPr>
        <p:spPr>
          <a:xfrm>
            <a:off x="4945009" y="3844900"/>
            <a:ext cx="5210210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6456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79150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717A0-5AF6-08F9-A346-CCEF76F31D99}"/>
              </a:ext>
            </a:extLst>
          </p:cNvPr>
          <p:cNvSpPr txBox="1"/>
          <p:nvPr/>
        </p:nvSpPr>
        <p:spPr>
          <a:xfrm>
            <a:off x="8016276" y="4237051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Momentum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9069A4-DE19-CF9E-6377-8CD8E1B7D744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1502B9-0195-C497-AA68-42B538AE03CB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0DB0C60-970E-F778-0304-1B1CE91AB0E7}"/>
              </a:ext>
            </a:extLst>
          </p:cNvPr>
          <p:cNvSpPr txBox="1"/>
          <p:nvPr/>
        </p:nvSpPr>
        <p:spPr>
          <a:xfrm>
            <a:off x="428296" y="423705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72DF3BD-8D4D-0F18-BAF0-DBA5309E80F0}"/>
              </a:ext>
            </a:extLst>
          </p:cNvPr>
          <p:cNvSpPr/>
          <p:nvPr/>
        </p:nvSpPr>
        <p:spPr>
          <a:xfrm>
            <a:off x="6637468" y="1527472"/>
            <a:ext cx="5251702" cy="2657253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119063" marR="0" lvl="0" indent="-119063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800" b="1" dirty="0">
                <a:latin typeface="Avenir Next LT Pro" panose="020B0504020202020204" pitchFamily="34" charset="0"/>
              </a:rPr>
              <a:t>Anticipat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Works to make it as easy as possible for the buyer to buy</a:t>
            </a:r>
          </a:p>
          <a:p>
            <a:pPr marL="119063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Once negotiating, focuses on making it easy and low-risk </a:t>
            </a:r>
          </a:p>
          <a:p>
            <a:pPr marL="119063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Tailors explanation of value to each role in the BDT </a:t>
            </a: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Shares new information to re-engage non-responsive buyers </a:t>
            </a: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Shares difficult objections with manager to figure out next steps </a:t>
            </a: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Regularly documents account and opportunity planning </a:t>
            </a: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Fully understands company's product strategy and vision </a:t>
            </a:r>
          </a:p>
          <a:p>
            <a:pPr marL="119063" lvl="0" indent="-119063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latin typeface="Avenir Next LT Pro" panose="020B0504020202020204" pitchFamily="34" charset="0"/>
              </a:rPr>
              <a:t>Openly grateful to colleagues for their help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119063" marR="0" lvl="0" indent="-119063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119063" marR="0" lvl="0" indent="-119063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A6508D-E8F9-340B-92AB-544E8DA4FF23}"/>
              </a:ext>
            </a:extLst>
          </p:cNvPr>
          <p:cNvSpPr txBox="1"/>
          <p:nvPr/>
        </p:nvSpPr>
        <p:spPr>
          <a:xfrm>
            <a:off x="4844445" y="2034325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De-risks decisions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0B9924A5-4E4C-3A9B-ECAF-2DD51A95605F}"/>
              </a:ext>
            </a:extLst>
          </p:cNvPr>
          <p:cNvSpPr/>
          <p:nvPr/>
        </p:nvSpPr>
        <p:spPr>
          <a:xfrm rot="10800000">
            <a:off x="6416644" y="1962934"/>
            <a:ext cx="136300" cy="49243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1D7D66-78E7-8425-3012-036CA5FF7E74}"/>
              </a:ext>
            </a:extLst>
          </p:cNvPr>
          <p:cNvSpPr txBox="1"/>
          <p:nvPr/>
        </p:nvSpPr>
        <p:spPr>
          <a:xfrm>
            <a:off x="4649273" y="2519808"/>
            <a:ext cx="18355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roactively manages the buying decision team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E9584F75-53EF-5FF6-C00D-0ED0E18D30B5}"/>
              </a:ext>
            </a:extLst>
          </p:cNvPr>
          <p:cNvSpPr/>
          <p:nvPr/>
        </p:nvSpPr>
        <p:spPr>
          <a:xfrm rot="10800000">
            <a:off x="6416644" y="2472172"/>
            <a:ext cx="136300" cy="4999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F17C99-CF99-63BA-FF7D-A3B8A9929B90}"/>
              </a:ext>
            </a:extLst>
          </p:cNvPr>
          <p:cNvSpPr txBox="1"/>
          <p:nvPr/>
        </p:nvSpPr>
        <p:spPr>
          <a:xfrm>
            <a:off x="4734953" y="3278918"/>
            <a:ext cx="1656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Collaborates internally to anticipate mis-steps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D931526D-D830-F11B-42E8-19B25CC62E3B}"/>
              </a:ext>
            </a:extLst>
          </p:cNvPr>
          <p:cNvSpPr/>
          <p:nvPr/>
        </p:nvSpPr>
        <p:spPr>
          <a:xfrm rot="10800000">
            <a:off x="6411680" y="3019443"/>
            <a:ext cx="136300" cy="11652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468CB44-37A6-FAAA-1C65-037D50706D47}"/>
              </a:ext>
            </a:extLst>
          </p:cNvPr>
          <p:cNvCxnSpPr>
            <a:cxnSpLocks/>
          </p:cNvCxnSpPr>
          <p:nvPr/>
        </p:nvCxnSpPr>
        <p:spPr>
          <a:xfrm>
            <a:off x="6788074" y="2455369"/>
            <a:ext cx="5016572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4570A3-8B83-2BCD-8FB4-D0C6B3215E7A}"/>
              </a:ext>
            </a:extLst>
          </p:cNvPr>
          <p:cNvCxnSpPr>
            <a:cxnSpLocks/>
          </p:cNvCxnSpPr>
          <p:nvPr/>
        </p:nvCxnSpPr>
        <p:spPr>
          <a:xfrm>
            <a:off x="6788074" y="2972076"/>
            <a:ext cx="5016572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353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7396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Narrowing is most prevalent among today’s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6D464C-F02A-48AA-4A84-61D8853C0412}"/>
              </a:ext>
            </a:extLst>
          </p:cNvPr>
          <p:cNvSpPr txBox="1"/>
          <p:nvPr/>
        </p:nvSpPr>
        <p:spPr>
          <a:xfrm>
            <a:off x="2370507" y="5260367"/>
            <a:ext cx="120097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b="1" dirty="0">
                <a:latin typeface="Avenir Next LT Pro" panose="020B0504020202020204" pitchFamily="34" charset="77"/>
              </a:rPr>
              <a:t>34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4E00C4-8854-5939-C202-70CA46048B9E}"/>
              </a:ext>
            </a:extLst>
          </p:cNvPr>
          <p:cNvSpPr txBox="1"/>
          <p:nvPr/>
        </p:nvSpPr>
        <p:spPr>
          <a:xfrm>
            <a:off x="4989962" y="5250917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19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6FF7D4-6C6E-2BAA-AF85-67A1819EB618}"/>
              </a:ext>
            </a:extLst>
          </p:cNvPr>
          <p:cNvSpPr txBox="1"/>
          <p:nvPr/>
        </p:nvSpPr>
        <p:spPr>
          <a:xfrm>
            <a:off x="324255" y="5329840"/>
            <a:ext cx="141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ortion of Sell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6B17CFD-42BF-03AF-6C18-95F301B16FC5}"/>
              </a:ext>
            </a:extLst>
          </p:cNvPr>
          <p:cNvSpPr txBox="1"/>
          <p:nvPr/>
        </p:nvSpPr>
        <p:spPr>
          <a:xfrm>
            <a:off x="7636179" y="5250916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25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7F3883-75C3-FE99-45C0-735F2D47AD5D}"/>
              </a:ext>
            </a:extLst>
          </p:cNvPr>
          <p:cNvSpPr txBox="1"/>
          <p:nvPr/>
        </p:nvSpPr>
        <p:spPr>
          <a:xfrm>
            <a:off x="10125653" y="5260366"/>
            <a:ext cx="110479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venir Next LT Pro" panose="020B0504020202020204" pitchFamily="34" charset="77"/>
              </a:rPr>
              <a:t>22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8089DD-88A8-9F2B-3142-2F09A5AFEB7E}"/>
              </a:ext>
            </a:extLst>
          </p:cNvPr>
          <p:cNvSpPr/>
          <p:nvPr/>
        </p:nvSpPr>
        <p:spPr>
          <a:xfrm>
            <a:off x="1643947" y="1437903"/>
            <a:ext cx="2606343" cy="4478245"/>
          </a:xfrm>
          <a:prstGeom prst="rect">
            <a:avLst/>
          </a:prstGeom>
          <a:noFill/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DF22B-ED55-C6A5-C155-26919C7D488B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0F69BA-10E1-ECE1-462C-414D57494FF9}"/>
              </a:ext>
            </a:extLst>
          </p:cNvPr>
          <p:cNvSpPr txBox="1"/>
          <p:nvPr/>
        </p:nvSpPr>
        <p:spPr>
          <a:xfrm>
            <a:off x="6800646" y="4678384"/>
            <a:ext cx="2560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4AABF-0E4C-E6D8-A6F6-9BDDEA447407}"/>
              </a:ext>
            </a:extLst>
          </p:cNvPr>
          <p:cNvSpPr txBox="1"/>
          <p:nvPr/>
        </p:nvSpPr>
        <p:spPr>
          <a:xfrm>
            <a:off x="9387923" y="4663898"/>
            <a:ext cx="2560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Momentum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83C155-FBD1-53BF-2F08-03FA6DAA06E6}"/>
              </a:ext>
            </a:extLst>
          </p:cNvPr>
          <p:cNvSpPr txBox="1"/>
          <p:nvPr/>
        </p:nvSpPr>
        <p:spPr>
          <a:xfrm>
            <a:off x="4195413" y="4654448"/>
            <a:ext cx="256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692319-B06A-EE44-B23A-9384D74B615D}"/>
              </a:ext>
            </a:extLst>
          </p:cNvPr>
          <p:cNvSpPr txBox="1"/>
          <p:nvPr/>
        </p:nvSpPr>
        <p:spPr>
          <a:xfrm>
            <a:off x="1647898" y="4663898"/>
            <a:ext cx="253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DA27725-1378-1B86-8BCA-34296743045A}"/>
              </a:ext>
            </a:extLst>
          </p:cNvPr>
          <p:cNvSpPr/>
          <p:nvPr/>
        </p:nvSpPr>
        <p:spPr>
          <a:xfrm>
            <a:off x="6801440" y="1583981"/>
            <a:ext cx="2560320" cy="30647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29ED07-20C6-78ED-9738-9ED942D52801}"/>
              </a:ext>
            </a:extLst>
          </p:cNvPr>
          <p:cNvSpPr/>
          <p:nvPr/>
        </p:nvSpPr>
        <p:spPr>
          <a:xfrm>
            <a:off x="9397888" y="1583981"/>
            <a:ext cx="2560320" cy="3064759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latin typeface="Avenir Next LT Pro" panose="020B0504020202020204" pitchFamily="34" charset="0"/>
              </a:rPr>
              <a:t>Anticipat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551BE0A-5227-140D-B444-FFF5262354C4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2A9507-3316-2D05-12CA-7E764F1CB8AE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322316-006D-CB9C-E154-83FBBA9050D0}"/>
              </a:ext>
            </a:extLst>
          </p:cNvPr>
          <p:cNvSpPr txBox="1"/>
          <p:nvPr/>
        </p:nvSpPr>
        <p:spPr>
          <a:xfrm>
            <a:off x="2139461" y="2187130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scribes buying steps and criteri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EBDDAD9-04EF-9FC9-23AE-45CE138E6315}"/>
              </a:ext>
            </a:extLst>
          </p:cNvPr>
          <p:cNvSpPr txBox="1"/>
          <p:nvPr/>
        </p:nvSpPr>
        <p:spPr>
          <a:xfrm>
            <a:off x="2056580" y="2841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252860-8776-EB05-9FF1-596BFC6EBE34}"/>
              </a:ext>
            </a:extLst>
          </p:cNvPr>
          <p:cNvSpPr txBox="1"/>
          <p:nvPr/>
        </p:nvSpPr>
        <p:spPr>
          <a:xfrm>
            <a:off x="2147125" y="372820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26C1FDF-054F-AAFF-CC65-674944569AF7}"/>
              </a:ext>
            </a:extLst>
          </p:cNvPr>
          <p:cNvSpPr txBox="1"/>
          <p:nvPr/>
        </p:nvSpPr>
        <p:spPr>
          <a:xfrm>
            <a:off x="4583112" y="219773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pplies an insight-led postu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82EB1C5-DC88-A274-5AE1-EE2298269CD1}"/>
              </a:ext>
            </a:extLst>
          </p:cNvPr>
          <p:cNvSpPr txBox="1"/>
          <p:nvPr/>
        </p:nvSpPr>
        <p:spPr>
          <a:xfrm>
            <a:off x="4583112" y="2880802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ailors insights to buy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D58A15C-9C11-56C7-DE02-7B69797A17F3}"/>
              </a:ext>
            </a:extLst>
          </p:cNvPr>
          <p:cNvSpPr txBox="1"/>
          <p:nvPr/>
        </p:nvSpPr>
        <p:spPr>
          <a:xfrm>
            <a:off x="4592206" y="366606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s with Market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2427B7F-E7D5-895F-BB46-953500288974}"/>
              </a:ext>
            </a:extLst>
          </p:cNvPr>
          <p:cNvSpPr txBox="1"/>
          <p:nvPr/>
        </p:nvSpPr>
        <p:spPr>
          <a:xfrm>
            <a:off x="7360003" y="2187129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enominates in buyer dat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1BA4D6F-DBDD-D108-E412-CF9D1C488741}"/>
              </a:ext>
            </a:extLst>
          </p:cNvPr>
          <p:cNvSpPr txBox="1"/>
          <p:nvPr/>
        </p:nvSpPr>
        <p:spPr>
          <a:xfrm>
            <a:off x="7251250" y="3656862"/>
            <a:ext cx="1654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Simplifies complex messag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EA07115-CED6-439F-297E-8D034572752E}"/>
              </a:ext>
            </a:extLst>
          </p:cNvPr>
          <p:cNvSpPr txBox="1"/>
          <p:nvPr/>
        </p:nvSpPr>
        <p:spPr>
          <a:xfrm>
            <a:off x="7173786" y="2881849"/>
            <a:ext cx="18095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ositions with meaningful contex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C187BC1-C228-928D-540D-DBA49BC7434C}"/>
              </a:ext>
            </a:extLst>
          </p:cNvPr>
          <p:cNvSpPr txBox="1"/>
          <p:nvPr/>
        </p:nvSpPr>
        <p:spPr>
          <a:xfrm>
            <a:off x="9949441" y="2182572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De-risks decis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3E0E062-97A8-AAFE-287C-8BCAE2EBAC8B}"/>
              </a:ext>
            </a:extLst>
          </p:cNvPr>
          <p:cNvSpPr txBox="1"/>
          <p:nvPr/>
        </p:nvSpPr>
        <p:spPr>
          <a:xfrm>
            <a:off x="9715941" y="2841384"/>
            <a:ext cx="190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roactively manages the buying decision tea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1E791A2-1EFF-E051-59DD-C6F2C96BB057}"/>
              </a:ext>
            </a:extLst>
          </p:cNvPr>
          <p:cNvSpPr txBox="1"/>
          <p:nvPr/>
        </p:nvSpPr>
        <p:spPr>
          <a:xfrm>
            <a:off x="9496652" y="3728202"/>
            <a:ext cx="2342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Collaborates internally to anticipate mis-steps</a:t>
            </a:r>
          </a:p>
        </p:txBody>
      </p:sp>
    </p:spTree>
    <p:extLst>
      <p:ext uri="{BB962C8B-B14F-4D97-AF65-F5344CB8AC3E}">
        <p14:creationId xmlns:p14="http://schemas.microsoft.com/office/powerpoint/2010/main" val="3625290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7" grpId="0"/>
      <p:bldP spid="18" grpId="0"/>
      <p:bldP spid="19" grpId="0" animBg="1"/>
      <p:bldP spid="20" grpId="0" animBg="1"/>
      <p:bldP spid="22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2311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Narrowing is extending sales cyc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3FF85B-F798-3312-52A4-75B807DFCCE4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C1ACC7-EF31-A98B-DED1-13D05FFAFD8A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6793E0-9ECD-9723-BF6A-0A69EEC06125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3FF2BA-62BC-E201-DE73-E371B6EE9821}"/>
              </a:ext>
            </a:extLst>
          </p:cNvPr>
          <p:cNvSpPr txBox="1"/>
          <p:nvPr/>
        </p:nvSpPr>
        <p:spPr>
          <a:xfrm>
            <a:off x="754980" y="3150008"/>
            <a:ext cx="1295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rioritiz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AB4BCA-D545-7F2F-272E-FF9D1E363BA3}"/>
              </a:ext>
            </a:extLst>
          </p:cNvPr>
          <p:cNvSpPr txBox="1"/>
          <p:nvPr/>
        </p:nvSpPr>
        <p:spPr>
          <a:xfrm>
            <a:off x="2323539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</p:spTree>
    <p:extLst>
      <p:ext uri="{BB962C8B-B14F-4D97-AF65-F5344CB8AC3E}">
        <p14:creationId xmlns:p14="http://schemas.microsoft.com/office/powerpoint/2010/main" val="251228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Provoking is extending sales cycles to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3FF85B-F798-3312-52A4-75B807DFCCE4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C1ACC7-EF31-A98B-DED1-13D05FFAFD8A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23E095-3C12-EBE9-5C24-7DE47FC9A3FA}"/>
              </a:ext>
            </a:extLst>
          </p:cNvPr>
          <p:cNvSpPr txBox="1"/>
          <p:nvPr/>
        </p:nvSpPr>
        <p:spPr>
          <a:xfrm>
            <a:off x="4310450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6D787D-7F6A-67CE-AC13-9259020546DD}"/>
              </a:ext>
            </a:extLst>
          </p:cNvPr>
          <p:cNvSpPr txBox="1"/>
          <p:nvPr/>
        </p:nvSpPr>
        <p:spPr>
          <a:xfrm>
            <a:off x="2323539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944689-CC62-178C-D844-5972A45576AE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F4BD45-49AB-E6E9-2D2F-0B1EAC47F296}"/>
              </a:ext>
            </a:extLst>
          </p:cNvPr>
          <p:cNvSpPr/>
          <p:nvPr/>
        </p:nvSpPr>
        <p:spPr>
          <a:xfrm>
            <a:off x="4040039" y="1379549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Provok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62E153-FA07-442C-54B8-7B04D4D6C56F}"/>
              </a:ext>
            </a:extLst>
          </p:cNvPr>
          <p:cNvSpPr txBox="1"/>
          <p:nvPr/>
        </p:nvSpPr>
        <p:spPr>
          <a:xfrm>
            <a:off x="754980" y="3150008"/>
            <a:ext cx="1295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rioritized</a:t>
            </a:r>
          </a:p>
        </p:txBody>
      </p:sp>
    </p:spTree>
    <p:extLst>
      <p:ext uri="{BB962C8B-B14F-4D97-AF65-F5344CB8AC3E}">
        <p14:creationId xmlns:p14="http://schemas.microsoft.com/office/powerpoint/2010/main" val="1457051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 animBg="1"/>
      <p:bldP spid="1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3205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cusing on Translating and Anticipating accelerates de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387C6-5B8C-B377-217A-B135DF001F9C}"/>
              </a:ext>
            </a:extLst>
          </p:cNvPr>
          <p:cNvSpPr txBox="1"/>
          <p:nvPr/>
        </p:nvSpPr>
        <p:spPr>
          <a:xfrm>
            <a:off x="4310450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323539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50380" y="1383501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9F184-FD46-CD76-BC7F-AD866B77B551}"/>
              </a:ext>
            </a:extLst>
          </p:cNvPr>
          <p:cNvSpPr/>
          <p:nvPr/>
        </p:nvSpPr>
        <p:spPr>
          <a:xfrm>
            <a:off x="4040039" y="1379549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Provok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AB46B-313D-D75C-FA54-E109A215F6DA}"/>
              </a:ext>
            </a:extLst>
          </p:cNvPr>
          <p:cNvSpPr/>
          <p:nvPr/>
        </p:nvSpPr>
        <p:spPr>
          <a:xfrm>
            <a:off x="6029698" y="1379548"/>
            <a:ext cx="1920240" cy="112416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2906A-2CC1-644D-B39C-07914F56328A}"/>
              </a:ext>
            </a:extLst>
          </p:cNvPr>
          <p:cNvSpPr/>
          <p:nvPr/>
        </p:nvSpPr>
        <p:spPr>
          <a:xfrm>
            <a:off x="8019357" y="1379549"/>
            <a:ext cx="1920240" cy="1124162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457ADA-A28A-CC4D-C5E5-2EC4B94906E8}"/>
              </a:ext>
            </a:extLst>
          </p:cNvPr>
          <p:cNvSpPr txBox="1"/>
          <p:nvPr/>
        </p:nvSpPr>
        <p:spPr>
          <a:xfrm>
            <a:off x="6297361" y="3147540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BB1AB6-6221-F1C8-5E2B-26DED30BD218}"/>
              </a:ext>
            </a:extLst>
          </p:cNvPr>
          <p:cNvSpPr txBox="1"/>
          <p:nvPr/>
        </p:nvSpPr>
        <p:spPr>
          <a:xfrm>
            <a:off x="8300835" y="3153961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62B3CE-E596-6330-227F-01D150A18734}"/>
              </a:ext>
            </a:extLst>
          </p:cNvPr>
          <p:cNvSpPr txBox="1"/>
          <p:nvPr/>
        </p:nvSpPr>
        <p:spPr>
          <a:xfrm>
            <a:off x="754980" y="3150008"/>
            <a:ext cx="1295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rioritiz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D8A07-1A42-0357-0100-ACC9672110FE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0EAC72-D532-ED81-2DC5-CC8471F0CC89}"/>
              </a:ext>
            </a:extLst>
          </p:cNvPr>
          <p:cNvSpPr txBox="1"/>
          <p:nvPr/>
        </p:nvSpPr>
        <p:spPr>
          <a:xfrm>
            <a:off x="754980" y="2457375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Prevalence Among Sell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224CAB-B9EA-32CA-2A8B-C5D3930787F5}"/>
              </a:ext>
            </a:extLst>
          </p:cNvPr>
          <p:cNvSpPr txBox="1"/>
          <p:nvPr/>
        </p:nvSpPr>
        <p:spPr>
          <a:xfrm>
            <a:off x="4385658" y="2496806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9% of sell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328A80-3C31-5359-0DE9-0586C6CDABE3}"/>
              </a:ext>
            </a:extLst>
          </p:cNvPr>
          <p:cNvSpPr txBox="1"/>
          <p:nvPr/>
        </p:nvSpPr>
        <p:spPr>
          <a:xfrm>
            <a:off x="2285897" y="2496806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latin typeface="Avenir Next LT Pro" panose="020B0504020202020204" pitchFamily="34" charset="77"/>
              </a:rPr>
              <a:t>34% of sellers</a:t>
            </a:r>
            <a:endParaRPr kumimoji="0" lang="en-US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0C4CFF-E3BF-9557-9374-1CFC7D028AAF}"/>
              </a:ext>
            </a:extLst>
          </p:cNvPr>
          <p:cNvSpPr txBox="1"/>
          <p:nvPr/>
        </p:nvSpPr>
        <p:spPr>
          <a:xfrm>
            <a:off x="6311176" y="2499274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latin typeface="Avenir Next LT Pro" panose="020B0504020202020204" pitchFamily="34" charset="77"/>
              </a:rPr>
              <a:t>25% of sellers</a:t>
            </a:r>
            <a:endParaRPr kumimoji="0" lang="en-US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5041D3-DB29-2329-1CD6-24D1896717B5}"/>
              </a:ext>
            </a:extLst>
          </p:cNvPr>
          <p:cNvSpPr txBox="1"/>
          <p:nvPr/>
        </p:nvSpPr>
        <p:spPr>
          <a:xfrm>
            <a:off x="8300835" y="2503711"/>
            <a:ext cx="1379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 of sellers</a:t>
            </a:r>
          </a:p>
        </p:txBody>
      </p:sp>
    </p:spTree>
    <p:extLst>
      <p:ext uri="{BB962C8B-B14F-4D97-AF65-F5344CB8AC3E}">
        <p14:creationId xmlns:p14="http://schemas.microsoft.com/office/powerpoint/2010/main" val="1039486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8" grpId="0" animBg="1"/>
      <p:bldP spid="11" grpId="0" animBg="1"/>
      <p:bldP spid="12" grpId="0" animBg="1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755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cusing on Translating and Anticipating accelerates deals … and leads to larger sales pri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FB916B-5D38-57E8-1A6C-C8F678FAE139}"/>
              </a:ext>
            </a:extLst>
          </p:cNvPr>
          <p:cNvSpPr txBox="1"/>
          <p:nvPr/>
        </p:nvSpPr>
        <p:spPr>
          <a:xfrm>
            <a:off x="752232" y="2637962"/>
            <a:ext cx="1295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Sales Cycle Time When Prioritiz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387C6-5B8C-B377-217A-B135DF001F9C}"/>
              </a:ext>
            </a:extLst>
          </p:cNvPr>
          <p:cNvSpPr txBox="1"/>
          <p:nvPr/>
        </p:nvSpPr>
        <p:spPr>
          <a:xfrm>
            <a:off x="4285532" y="2658296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D5F47-1584-A19C-E4CB-1DAF6A5708B0}"/>
              </a:ext>
            </a:extLst>
          </p:cNvPr>
          <p:cNvSpPr txBox="1"/>
          <p:nvPr/>
        </p:nvSpPr>
        <p:spPr>
          <a:xfrm>
            <a:off x="2295873" y="2660503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20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ong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A741-3550-7E22-1032-B461D51301F2}"/>
              </a:ext>
            </a:extLst>
          </p:cNvPr>
          <p:cNvSpPr/>
          <p:nvPr/>
        </p:nvSpPr>
        <p:spPr>
          <a:xfrm>
            <a:off x="2025462" y="1374128"/>
            <a:ext cx="1920240" cy="1124163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9F184-FD46-CD76-BC7F-AD866B77B551}"/>
              </a:ext>
            </a:extLst>
          </p:cNvPr>
          <p:cNvSpPr/>
          <p:nvPr/>
        </p:nvSpPr>
        <p:spPr>
          <a:xfrm>
            <a:off x="4015121" y="1379549"/>
            <a:ext cx="1920240" cy="1124162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71E31"/>
                </a:solidFill>
                <a:latin typeface="Avenir Next LT Pro" panose="020B0504020202020204" pitchFamily="34" charset="77"/>
              </a:rPr>
              <a:t>Provok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DC6E73-2D54-FA9A-347F-F2D58FBF66CC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Productivity Improvement From Mastering Each Sales Appro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AB46B-313D-D75C-FA54-E109A215F6DA}"/>
              </a:ext>
            </a:extLst>
          </p:cNvPr>
          <p:cNvSpPr/>
          <p:nvPr/>
        </p:nvSpPr>
        <p:spPr>
          <a:xfrm>
            <a:off x="6029698" y="1379548"/>
            <a:ext cx="1920240" cy="112416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2906A-2CC1-644D-B39C-07914F56328A}"/>
              </a:ext>
            </a:extLst>
          </p:cNvPr>
          <p:cNvSpPr/>
          <p:nvPr/>
        </p:nvSpPr>
        <p:spPr>
          <a:xfrm>
            <a:off x="8019357" y="1379549"/>
            <a:ext cx="1920240" cy="1124162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457ADA-A28A-CC4D-C5E5-2EC4B94906E8}"/>
              </a:ext>
            </a:extLst>
          </p:cNvPr>
          <p:cNvSpPr txBox="1"/>
          <p:nvPr/>
        </p:nvSpPr>
        <p:spPr>
          <a:xfrm>
            <a:off x="6300109" y="2661565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BB1AB6-6221-F1C8-5E2B-26DED30BD218}"/>
              </a:ext>
            </a:extLst>
          </p:cNvPr>
          <p:cNvSpPr txBox="1"/>
          <p:nvPr/>
        </p:nvSpPr>
        <p:spPr>
          <a:xfrm>
            <a:off x="8289768" y="2658296"/>
            <a:ext cx="137941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12%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short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FA1B9-5BFD-C28B-5808-514BCF85E090}"/>
              </a:ext>
            </a:extLst>
          </p:cNvPr>
          <p:cNvSpPr txBox="1"/>
          <p:nvPr/>
        </p:nvSpPr>
        <p:spPr>
          <a:xfrm>
            <a:off x="752232" y="3972541"/>
            <a:ext cx="1295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Average Change in Deal Size When Prioritiz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B5FCC5-892B-F02D-FA59-B50962359057}"/>
              </a:ext>
            </a:extLst>
          </p:cNvPr>
          <p:cNvSpPr txBox="1"/>
          <p:nvPr/>
        </p:nvSpPr>
        <p:spPr>
          <a:xfrm>
            <a:off x="4190857" y="4000754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9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004796-9900-C0E4-B3D9-C135C097EB12}"/>
              </a:ext>
            </a:extLst>
          </p:cNvPr>
          <p:cNvSpPr txBox="1"/>
          <p:nvPr/>
        </p:nvSpPr>
        <p:spPr>
          <a:xfrm>
            <a:off x="2201198" y="4031443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92D050"/>
                </a:solidFill>
                <a:latin typeface="Avenir Next LT Pro" panose="020B0504020202020204" pitchFamily="34" charset="77"/>
              </a:rPr>
              <a:t>7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7F4469-B2C0-6B77-1CC5-1FE5C17CA085}"/>
              </a:ext>
            </a:extLst>
          </p:cNvPr>
          <p:cNvSpPr txBox="1"/>
          <p:nvPr/>
        </p:nvSpPr>
        <p:spPr>
          <a:xfrm>
            <a:off x="6209991" y="4000754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16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DEDF43-1547-FC99-D4EA-6B2EEF870590}"/>
              </a:ext>
            </a:extLst>
          </p:cNvPr>
          <p:cNvSpPr txBox="1"/>
          <p:nvPr/>
        </p:nvSpPr>
        <p:spPr>
          <a:xfrm>
            <a:off x="8195093" y="4001110"/>
            <a:ext cx="15687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3200" b="1" dirty="0">
                <a:solidFill>
                  <a:srgbClr val="00B050"/>
                </a:solidFill>
                <a:latin typeface="Avenir Next LT Pro" panose="020B0504020202020204" pitchFamily="34" charset="77"/>
              </a:rPr>
              <a:t>1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% </a:t>
            </a:r>
            <a:b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77"/>
                <a:sym typeface="Arial"/>
              </a:rPr>
              <a:t>larg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5755A8B-D69D-81B0-9D7A-F4272DA03EE0}"/>
              </a:ext>
            </a:extLst>
          </p:cNvPr>
          <p:cNvSpPr txBox="1"/>
          <p:nvPr/>
        </p:nvSpPr>
        <p:spPr>
          <a:xfrm>
            <a:off x="2504004" y="5190869"/>
            <a:ext cx="331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Deal size improvements undercut by  extended sales cycl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F11F51-1E2F-C2D5-9EDF-46E752281DEE}"/>
              </a:ext>
            </a:extLst>
          </p:cNvPr>
          <p:cNvSpPr txBox="1"/>
          <p:nvPr/>
        </p:nvSpPr>
        <p:spPr>
          <a:xfrm>
            <a:off x="2390050" y="5172254"/>
            <a:ext cx="49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52CF5B9C-7404-AE0A-7A32-477648396CB3}"/>
              </a:ext>
            </a:extLst>
          </p:cNvPr>
          <p:cNvSpPr/>
          <p:nvPr/>
        </p:nvSpPr>
        <p:spPr>
          <a:xfrm rot="5400000">
            <a:off x="3942586" y="3137455"/>
            <a:ext cx="237499" cy="376781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DBE464C-A60D-66E6-B7C1-55B021EE5534}"/>
              </a:ext>
            </a:extLst>
          </p:cNvPr>
          <p:cNvSpPr txBox="1"/>
          <p:nvPr/>
        </p:nvSpPr>
        <p:spPr>
          <a:xfrm>
            <a:off x="6406019" y="5243618"/>
            <a:ext cx="3610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Deal size improvements amplified by </a:t>
            </a:r>
          </a:p>
          <a:p>
            <a:pPr algn="ctr"/>
            <a:r>
              <a:rPr lang="en-US" sz="1200" i="1" dirty="0">
                <a:latin typeface="Avenir Next LT Pro" panose="020B0504020202020204" pitchFamily="34" charset="77"/>
              </a:rPr>
              <a:t>shorter sales cycles</a:t>
            </a:r>
          </a:p>
        </p:txBody>
      </p:sp>
      <p:sp>
        <p:nvSpPr>
          <p:cNvPr id="38" name="Right Brace 37">
            <a:extLst>
              <a:ext uri="{FF2B5EF4-FFF2-40B4-BE49-F238E27FC236}">
                <a16:creationId xmlns:a16="http://schemas.microsoft.com/office/drawing/2014/main" id="{0E40C341-CE7C-7FD7-5454-BE5D1CE2BA0D}"/>
              </a:ext>
            </a:extLst>
          </p:cNvPr>
          <p:cNvSpPr/>
          <p:nvPr/>
        </p:nvSpPr>
        <p:spPr>
          <a:xfrm rot="5400000">
            <a:off x="7941420" y="3258390"/>
            <a:ext cx="295603" cy="361020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77"/>
            </a:endParaRPr>
          </a:p>
        </p:txBody>
      </p:sp>
      <p:pic>
        <p:nvPicPr>
          <p:cNvPr id="39" name="Graphic 38" descr="Checkmark with solid fill">
            <a:extLst>
              <a:ext uri="{FF2B5EF4-FFF2-40B4-BE49-F238E27FC236}">
                <a16:creationId xmlns:a16="http://schemas.microsoft.com/office/drawing/2014/main" id="{8B8AD755-8FD3-8B65-EE7C-9FFEACF7B0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4117" y="5148411"/>
            <a:ext cx="560228" cy="5602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4758E3-1124-CC23-C235-DD2BB5552C6C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</p:spTree>
    <p:extLst>
      <p:ext uri="{BB962C8B-B14F-4D97-AF65-F5344CB8AC3E}">
        <p14:creationId xmlns:p14="http://schemas.microsoft.com/office/powerpoint/2010/main" val="4281679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8" grpId="0" animBg="1"/>
      <p:bldP spid="11" grpId="0" animBg="1"/>
      <p:bldP spid="12" grpId="0" animBg="1"/>
      <p:bldP spid="15" grpId="0"/>
      <p:bldP spid="16" grpId="0"/>
      <p:bldP spid="23" grpId="0"/>
      <p:bldP spid="25" grpId="0"/>
      <p:bldP spid="29" grpId="0"/>
      <p:bldP spid="3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A39F88-970F-749A-95FF-B1149EC6EF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A39F88-970F-749A-95FF-B1149EC6E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22E3BF-96AA-DD6E-7809-A49C18B2A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Productive sellers pull out what buyers need, rather than pushing what they think they ne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CBEDEE-F8B9-5896-D0BC-1F2575EEFD11}"/>
              </a:ext>
            </a:extLst>
          </p:cNvPr>
          <p:cNvSpPr txBox="1"/>
          <p:nvPr/>
        </p:nvSpPr>
        <p:spPr>
          <a:xfrm>
            <a:off x="495467" y="1473170"/>
            <a:ext cx="3933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Comparison of “Push” vs “Pull” Sales Approache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A87D53B-A27D-3377-BDAF-5D5323A57C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9970" y="2058780"/>
            <a:ext cx="841255" cy="841255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4BCB0AF-0602-C596-3629-2CE4F51047D7}"/>
              </a:ext>
            </a:extLst>
          </p:cNvPr>
          <p:cNvSpPr/>
          <p:nvPr/>
        </p:nvSpPr>
        <p:spPr>
          <a:xfrm>
            <a:off x="1700130" y="2587226"/>
            <a:ext cx="1424083" cy="547714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Narrow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B041CB-AA1D-B713-3156-19D061AF9054}"/>
              </a:ext>
            </a:extLst>
          </p:cNvPr>
          <p:cNvSpPr/>
          <p:nvPr/>
        </p:nvSpPr>
        <p:spPr>
          <a:xfrm>
            <a:off x="1700130" y="3190328"/>
            <a:ext cx="1424083" cy="547714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071E31"/>
                </a:solidFill>
                <a:latin typeface="Avenir Next LT Pro" panose="020B0504020202020204" pitchFamily="34" charset="77"/>
              </a:rPr>
              <a:t>Provoking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71E31"/>
              </a:solidFill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F954A3C-47AF-A661-A7AD-DAFCF00ABE84}"/>
              </a:ext>
            </a:extLst>
          </p:cNvPr>
          <p:cNvSpPr/>
          <p:nvPr/>
        </p:nvSpPr>
        <p:spPr>
          <a:xfrm>
            <a:off x="9843811" y="2591051"/>
            <a:ext cx="1412658" cy="547714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Transla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A46DE29-3A39-B222-492B-CC8581C99FD9}"/>
              </a:ext>
            </a:extLst>
          </p:cNvPr>
          <p:cNvSpPr/>
          <p:nvPr/>
        </p:nvSpPr>
        <p:spPr>
          <a:xfrm>
            <a:off x="9843001" y="3194151"/>
            <a:ext cx="1413468" cy="547714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71E31"/>
                </a:solidFill>
                <a:effectLst/>
                <a:uLnTx/>
                <a:uFillTx/>
                <a:latin typeface="Avenir Next LT Pro" panose="020B0504020202020204" pitchFamily="34" charset="77"/>
              </a:rPr>
              <a:t>Anticipating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7759E98C-30E9-361C-0B86-B529AEB2F9D2}"/>
              </a:ext>
            </a:extLst>
          </p:cNvPr>
          <p:cNvSpPr/>
          <p:nvPr/>
        </p:nvSpPr>
        <p:spPr>
          <a:xfrm>
            <a:off x="3177448" y="2228399"/>
            <a:ext cx="2502232" cy="37899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Sellers “Push”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D628E30-BC1B-6C0F-B185-01915F8685D3}"/>
              </a:ext>
            </a:extLst>
          </p:cNvPr>
          <p:cNvSpPr txBox="1"/>
          <p:nvPr/>
        </p:nvSpPr>
        <p:spPr>
          <a:xfrm>
            <a:off x="3356671" y="2975074"/>
            <a:ext cx="1971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  <a:latin typeface="Avenir Next LT Pro" panose="020B0504020202020204" pitchFamily="34" charset="77"/>
              </a:rPr>
              <a:t>Seller/ Supplier-Centric Process and Ideas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1FA9F80E-96F3-D95C-3E2C-97206ABD1FC5}"/>
              </a:ext>
            </a:extLst>
          </p:cNvPr>
          <p:cNvSpPr/>
          <p:nvPr/>
        </p:nvSpPr>
        <p:spPr>
          <a:xfrm>
            <a:off x="7317319" y="2208231"/>
            <a:ext cx="2631756" cy="378995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0"/>
              </a:rPr>
              <a:t>Sellers “Pull”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A757C3-5B4D-2AF7-48DE-D4CFA1D00A7F}"/>
              </a:ext>
            </a:extLst>
          </p:cNvPr>
          <p:cNvSpPr txBox="1"/>
          <p:nvPr/>
        </p:nvSpPr>
        <p:spPr>
          <a:xfrm>
            <a:off x="7918384" y="2591933"/>
            <a:ext cx="14324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  <a:latin typeface="Avenir Next LT Pro" panose="020B0504020202020204" pitchFamily="34" charset="77"/>
              </a:rPr>
              <a:t>Buyer-Centric Thinking</a:t>
            </a:r>
          </a:p>
          <a:p>
            <a:pPr algn="ctr"/>
            <a:endParaRPr lang="en-US" sz="1200" dirty="0">
              <a:solidFill>
                <a:schemeClr val="accent3"/>
              </a:solidFill>
              <a:latin typeface="Avenir Next LT Pro" panose="020B0504020202020204" pitchFamily="34" charset="77"/>
            </a:endParaRPr>
          </a:p>
          <a:p>
            <a:pPr algn="ctr"/>
            <a:r>
              <a:rPr lang="en-US" sz="1200" dirty="0">
                <a:solidFill>
                  <a:schemeClr val="accent3"/>
                </a:solidFill>
                <a:latin typeface="Avenir Next LT Pro" panose="020B0504020202020204" pitchFamily="34" charset="77"/>
              </a:rPr>
              <a:t>“Commercial Empathy”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E0B940E-A9B6-F6EC-A88C-06DD4B0FA939}"/>
              </a:ext>
            </a:extLst>
          </p:cNvPr>
          <p:cNvSpPr txBox="1"/>
          <p:nvPr/>
        </p:nvSpPr>
        <p:spPr>
          <a:xfrm>
            <a:off x="7712354" y="4027478"/>
            <a:ext cx="1841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3"/>
                </a:solidFill>
                <a:latin typeface="Avenir Next LT Pro" panose="020B0504020202020204" pitchFamily="34" charset="77"/>
              </a:rPr>
              <a:t>Buyer “Ownership” of Purchase Decision &amp; Purchase Eas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799CFE0-A515-E43E-85A1-1BE615B59809}"/>
              </a:ext>
            </a:extLst>
          </p:cNvPr>
          <p:cNvSpPr txBox="1"/>
          <p:nvPr/>
        </p:nvSpPr>
        <p:spPr>
          <a:xfrm>
            <a:off x="3469788" y="4027478"/>
            <a:ext cx="1841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  <a:latin typeface="Avenir Next LT Pro" panose="020B0504020202020204" pitchFamily="34" charset="77"/>
              </a:rPr>
              <a:t>Friction in Driving Consensus and Align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B12F4F-F5BB-CACF-ECE7-BBA898C88066}"/>
              </a:ext>
            </a:extLst>
          </p:cNvPr>
          <p:cNvSpPr txBox="1"/>
          <p:nvPr/>
        </p:nvSpPr>
        <p:spPr>
          <a:xfrm>
            <a:off x="6216127" y="3075987"/>
            <a:ext cx="2289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08BEA9-DE89-CF72-F9B0-217EB877BA34}"/>
              </a:ext>
            </a:extLst>
          </p:cNvPr>
          <p:cNvSpPr txBox="1"/>
          <p:nvPr/>
        </p:nvSpPr>
        <p:spPr>
          <a:xfrm>
            <a:off x="5624268" y="2783346"/>
            <a:ext cx="1412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latin typeface="Avenir Next LT Pro" panose="020B0504020202020204" pitchFamily="34" charset="0"/>
              </a:rPr>
              <a:t>Buying Decision Team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9396710-CB97-C3F2-4131-C1B264B2CED5}"/>
              </a:ext>
            </a:extLst>
          </p:cNvPr>
          <p:cNvCxnSpPr/>
          <p:nvPr/>
        </p:nvCxnSpPr>
        <p:spPr>
          <a:xfrm>
            <a:off x="3392265" y="3728758"/>
            <a:ext cx="19192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7BEA77-B997-B39D-D248-7F21ACA2D778}"/>
              </a:ext>
            </a:extLst>
          </p:cNvPr>
          <p:cNvCxnSpPr/>
          <p:nvPr/>
        </p:nvCxnSpPr>
        <p:spPr>
          <a:xfrm>
            <a:off x="7527381" y="3728758"/>
            <a:ext cx="19192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1E55B51-8655-9A68-4ADE-40BE43A0C44B}"/>
              </a:ext>
            </a:extLst>
          </p:cNvPr>
          <p:cNvSpPr txBox="1"/>
          <p:nvPr/>
        </p:nvSpPr>
        <p:spPr>
          <a:xfrm>
            <a:off x="321774" y="2783346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Seller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E3D22A-B65A-300F-4B71-9F6476FD8CAE}"/>
              </a:ext>
            </a:extLst>
          </p:cNvPr>
          <p:cNvSpPr txBox="1"/>
          <p:nvPr/>
        </p:nvSpPr>
        <p:spPr>
          <a:xfrm>
            <a:off x="321774" y="4119810"/>
            <a:ext cx="129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Impact on  Buying Decision Team</a:t>
            </a:r>
          </a:p>
        </p:txBody>
      </p:sp>
    </p:spTree>
    <p:extLst>
      <p:ext uri="{BB962C8B-B14F-4D97-AF65-F5344CB8AC3E}">
        <p14:creationId xmlns:p14="http://schemas.microsoft.com/office/powerpoint/2010/main" val="274477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41328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ales managers are over-indexing on the wrong approaches, costing sales productiv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570C8A-395D-C207-9842-979C2D39D321}"/>
              </a:ext>
            </a:extLst>
          </p:cNvPr>
          <p:cNvSpPr txBox="1"/>
          <p:nvPr/>
        </p:nvSpPr>
        <p:spPr>
          <a:xfrm>
            <a:off x="609600" y="5173663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8163906-9C6B-E88E-A37C-1A86EE8091FE}"/>
              </a:ext>
            </a:extLst>
          </p:cNvPr>
          <p:cNvSpPr txBox="1"/>
          <p:nvPr/>
        </p:nvSpPr>
        <p:spPr>
          <a:xfrm>
            <a:off x="606240" y="1014727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ales Manager Emphasis Across Seller Approaches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B1E06CE-1421-CAD8-FB2F-CA7856E2AE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1250393"/>
              </p:ext>
            </p:extLst>
          </p:nvPr>
        </p:nvGraphicFramePr>
        <p:xfrm>
          <a:off x="1487488" y="1785938"/>
          <a:ext cx="30257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7" name="Google Shape;11;p4">
            <a:extLst>
              <a:ext uri="{FF2B5EF4-FFF2-40B4-BE49-F238E27FC236}">
                <a16:creationId xmlns:a16="http://schemas.microsoft.com/office/drawing/2014/main" id="{9589EEA5-895E-572B-3640-B45007C51F90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11275" y="1814513"/>
            <a:ext cx="982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21C016-26EF-430F-84E1-F22D52FF0EC3}" type="datetime'A''n''''t''i''''ci''''''''''''''p''''at''''in''g''''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Anticipat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8" name="Google Shape;11;p4">
            <a:extLst>
              <a:ext uri="{FF2B5EF4-FFF2-40B4-BE49-F238E27FC236}">
                <a16:creationId xmlns:a16="http://schemas.microsoft.com/office/drawing/2014/main" id="{C55FAF40-0925-192D-F838-132D49D45D57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4050" y="3436938"/>
            <a:ext cx="879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5EF8E8A-01C8-4572-801B-7CBCF2AC35D1}" type="datetime'''''T''''''''''''r''''an''s''''''''''''l''''a''t''i''n''''''g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Translat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9" name="Google Shape;11;p4">
            <a:extLst>
              <a:ext uri="{FF2B5EF4-FFF2-40B4-BE49-F238E27FC236}">
                <a16:creationId xmlns:a16="http://schemas.microsoft.com/office/drawing/2014/main" id="{B17572C8-6DB5-2A33-EDC1-3C45DE9DB751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709988" y="4567238"/>
            <a:ext cx="857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64DF22-2571-4CC9-9A84-59C46CC37092}" type="datetime'''N''''''''a''''r''''''''''''''r''ow''''i''n''''''''''''g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Narrow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20" name="Google Shape;11;p4">
            <a:extLst>
              <a:ext uri="{FF2B5EF4-FFF2-40B4-BE49-F238E27FC236}">
                <a16:creationId xmlns:a16="http://schemas.microsoft.com/office/drawing/2014/main" id="{4E835C5A-8814-FD72-286E-719AFD858732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79850" y="1924050"/>
            <a:ext cx="809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73A8CBE-263E-4207-9413-8E1C03A99B0D}" type="datetime'''Pr''''o''''vo''''''k''''''''i''''''''''''''n''g''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Provoking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F73BB5-6665-2D69-F6B9-18541DEF60F7}"/>
              </a:ext>
            </a:extLst>
          </p:cNvPr>
          <p:cNvSpPr txBox="1"/>
          <p:nvPr/>
        </p:nvSpPr>
        <p:spPr>
          <a:xfrm>
            <a:off x="5245508" y="3132435"/>
            <a:ext cx="4025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62% of Sales Managers practice the least productive commercial approaches.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5BBE6242-5C14-10DF-D6F3-3E9B420C1C49}"/>
              </a:ext>
            </a:extLst>
          </p:cNvPr>
          <p:cNvSpPr/>
          <p:nvPr/>
        </p:nvSpPr>
        <p:spPr>
          <a:xfrm>
            <a:off x="5039880" y="1942145"/>
            <a:ext cx="62753" cy="279400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831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244573-85E3-FAC2-A443-19CD6CA54A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1880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244573-85E3-FAC2-A443-19CD6CA54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50996-5AA9-04C6-A547-40DA695E2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eller productivity is a significant challenge in the current business environ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A3AFF2-2AB0-7DD1-BE5D-E9A6E984B1F6}"/>
              </a:ext>
            </a:extLst>
          </p:cNvPr>
          <p:cNvSpPr txBox="1"/>
          <p:nvPr/>
        </p:nvSpPr>
        <p:spPr>
          <a:xfrm>
            <a:off x="609600" y="1143814"/>
            <a:ext cx="3626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Recent Trends in Deal Size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D96B4-D931-EE0F-0A90-C733C5D63F72}"/>
              </a:ext>
            </a:extLst>
          </p:cNvPr>
          <p:cNvSpPr txBox="1"/>
          <p:nvPr/>
        </p:nvSpPr>
        <p:spPr>
          <a:xfrm>
            <a:off x="727075" y="5820445"/>
            <a:ext cx="3741738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latin typeface="Avenir Next LT Pro" panose="020B0504020202020204" pitchFamily="34" charset="77"/>
              </a:rPr>
              <a:t>N = 91 CEOs and go-to-market leaders</a:t>
            </a:r>
          </a:p>
          <a:p>
            <a:r>
              <a:rPr lang="en-US" sz="800" dirty="0">
                <a:latin typeface="Avenir Next LT Pro" panose="020B0504020202020204" pitchFamily="34" charset="77"/>
              </a:rPr>
              <a:t>Source: SBI Q1 2023 CEO Survey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BF833D2-EE43-276C-F1A7-4C27200544D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272959"/>
              </p:ext>
            </p:extLst>
          </p:nvPr>
        </p:nvGraphicFramePr>
        <p:xfrm>
          <a:off x="966788" y="1406525"/>
          <a:ext cx="26733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731E5396-90BB-6CF4-44E0-249D39642A8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27075" y="1825625"/>
            <a:ext cx="65881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B0E9FC-1852-49F5-9E95-84E8245E86DD}" type="datetime'''''I''n''c''''r''''''e''a''s''''''''i''''''''''n''''''''g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Increas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E6C01A-1A18-F312-E281-35AA0EDAA8A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24212" y="2990850"/>
            <a:ext cx="10239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B4879F3-A355-4B77-94DC-639AB8214232}" type="datetime'Fl''''''''''''''at ''o''r s''''h''rin''''''k''''i''n''''''g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Flat or shrinking</a:t>
            </a:fld>
            <a:endParaRPr lang="en-US" sz="11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6C3541F-ED90-9B82-A651-410F76D75718}"/>
              </a:ext>
            </a:extLst>
          </p:cNvPr>
          <p:cNvSpPr txBox="1"/>
          <p:nvPr/>
        </p:nvSpPr>
        <p:spPr>
          <a:xfrm>
            <a:off x="3862388" y="1144588"/>
            <a:ext cx="3625850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Recent Trends in Deal Velocity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17751E6-98F0-08CC-BD77-4AA19BD09C1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8164623"/>
              </p:ext>
            </p:extLst>
          </p:nvPr>
        </p:nvGraphicFramePr>
        <p:xfrm>
          <a:off x="4486275" y="1390650"/>
          <a:ext cx="2673350" cy="218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CB948C17-D020-F8E6-2230-A68FE2CDCCE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148138" y="1722438"/>
            <a:ext cx="8064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121A287-EAB8-4CB5-ABDE-9321D5ED1A1E}" type="datetime'''A''cce''''''''l''e''''r''''a''''t''''''''i''''n''''g''''''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Accelerat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8461375-56C5-AB6F-8E09-9514690FC0B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688138" y="3078163"/>
            <a:ext cx="930275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C55353-3FEE-45F5-8EA2-1BEBBF601BD0}" type="datetime'''Fl''at ''''''or'''''''' ''''''''''sl''o''''''''w''in''''g''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Flat or slowing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29928D8-0A31-87CB-D96D-BDA94410E570}"/>
              </a:ext>
            </a:extLst>
          </p:cNvPr>
          <p:cNvSpPr txBox="1"/>
          <p:nvPr/>
        </p:nvSpPr>
        <p:spPr>
          <a:xfrm>
            <a:off x="7548563" y="1144588"/>
            <a:ext cx="3625850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CEO Characterization of Seller Productivity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00B92D9-E43C-E749-41F5-7DF0D64B95A3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07789716"/>
              </p:ext>
            </p:extLst>
          </p:nvPr>
        </p:nvGraphicFramePr>
        <p:xfrm>
          <a:off x="7907338" y="1406525"/>
          <a:ext cx="26733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79" name="Rectangle 78">
            <a:extLst>
              <a:ext uri="{FF2B5EF4-FFF2-40B4-BE49-F238E27FC236}">
                <a16:creationId xmlns:a16="http://schemas.microsoft.com/office/drawing/2014/main" id="{E729D383-4D06-0AB4-3ABA-F253288C617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612063" y="1614488"/>
            <a:ext cx="738188" cy="336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135914-CA1C-4731-8038-3993994315F4}" type="datetime'B''e''''''t''''ter t''ha''n'' ''''&#10;''las''t ''qu''''art''er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Better than 
last quarter</a:t>
            </a:fld>
            <a:endParaRPr lang="en-US" sz="1100" kern="1200" dirty="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D34F419-0227-710A-033E-9DB9FDBDEF9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136188" y="3033713"/>
            <a:ext cx="1325563" cy="336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E56B3A5-25A7-4912-AB89-A33E4B762044}" type="datetime'''No'' ''cha''nge o''r worse &#10;''''th''''an l''ast q''uarte''r'">
              <a:rPr lang="en-US" altLang="en-US" sz="1100" kern="1200" smtClean="0">
                <a:solidFill>
                  <a:schemeClr val="tx1"/>
                </a:solidFill>
                <a:latin typeface="Avenir Next LT Pro" panose="020B0504020202020204" pitchFamily="34" charset="77"/>
                <a:sym typeface="Avenir Next LT Pro" panose="020B0504020202020204" pitchFamily="34" charset="77"/>
              </a:rPr>
              <a:pPr/>
              <a:t>No change or worse 
than last quarter</a:t>
            </a:fld>
            <a:endParaRPr lang="en-US" sz="1100" kern="1200">
              <a:solidFill>
                <a:schemeClr val="tx1"/>
              </a:solidFill>
              <a:latin typeface="Avenir Next LT Pro" panose="020B0504020202020204" pitchFamily="34" charset="77"/>
              <a:sym typeface="Avenir Next LT Pro" panose="020B0504020202020204" pitchFamily="34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D2B9A2-B846-C4CE-7694-4EFF6D3254B4}"/>
              </a:ext>
            </a:extLst>
          </p:cNvPr>
          <p:cNvSpPr txBox="1"/>
          <p:nvPr/>
        </p:nvSpPr>
        <p:spPr>
          <a:xfrm>
            <a:off x="2863516" y="4323746"/>
            <a:ext cx="6106026" cy="116955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“The issue isn’t pipeline. It’s pipeline movement. Pockets of our business are productive, but net-net, we’re struggling with mid-stage conversion.”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i="1" dirty="0">
                <a:latin typeface="Avenir Next LT Pro" panose="020B0504020202020204" pitchFamily="34" charset="0"/>
              </a:rPr>
              <a:t>			Chief Revenue Officer</a:t>
            </a:r>
          </a:p>
          <a:p>
            <a:r>
              <a:rPr lang="en-US" i="1" dirty="0">
                <a:latin typeface="Avenir Next LT Pro" panose="020B0504020202020204" pitchFamily="34" charset="0"/>
              </a:rPr>
              <a:t>			Mid-Size Software Company</a:t>
            </a:r>
          </a:p>
        </p:txBody>
      </p:sp>
    </p:spTree>
    <p:extLst>
      <p:ext uri="{BB962C8B-B14F-4D97-AF65-F5344CB8AC3E}">
        <p14:creationId xmlns:p14="http://schemas.microsoft.com/office/powerpoint/2010/main" val="4177546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Drive the right approaches with assessments and enablement</a:t>
            </a:r>
            <a:endParaRPr lang="en-US" b="0" dirty="0">
              <a:latin typeface="Avenir Next LT Pro" panose="020B0504020202020204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F65ABE-28A4-6F86-4526-0D82B51762D5}"/>
              </a:ext>
            </a:extLst>
          </p:cNvPr>
          <p:cNvSpPr txBox="1"/>
          <p:nvPr/>
        </p:nvSpPr>
        <p:spPr>
          <a:xfrm>
            <a:off x="606240" y="1014727"/>
            <a:ext cx="6582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What Go-To-Market Leadership Needs to Do to Instill the Right Seller Approach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FAD111-FEDB-06AF-8DF7-3F47A4BB332F}"/>
              </a:ext>
            </a:extLst>
          </p:cNvPr>
          <p:cNvSpPr txBox="1"/>
          <p:nvPr/>
        </p:nvSpPr>
        <p:spPr>
          <a:xfrm>
            <a:off x="2252123" y="1513505"/>
            <a:ext cx="2778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venir Next LT Pro" panose="020B0504020202020204" pitchFamily="34" charset="77"/>
              </a:rPr>
              <a:t>Diagnose seller activities for targeted support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5B16F56-70C7-6C1B-7778-A382714B985D}"/>
              </a:ext>
            </a:extLst>
          </p:cNvPr>
          <p:cNvSpPr/>
          <p:nvPr/>
        </p:nvSpPr>
        <p:spPr>
          <a:xfrm>
            <a:off x="720573" y="2492305"/>
            <a:ext cx="2517288" cy="21576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Assess seller application of the four sales approaches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Seller approach prioritization</a:t>
            </a: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Sales manager approach prioritization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EA22562-0232-214F-70C8-9873DA0A6E47}"/>
              </a:ext>
            </a:extLst>
          </p:cNvPr>
          <p:cNvSpPr/>
          <p:nvPr/>
        </p:nvSpPr>
        <p:spPr>
          <a:xfrm>
            <a:off x="3339282" y="2492306"/>
            <a:ext cx="2517288" cy="14283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Assess how sellers use their “white space” time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Surveying, direct observation, time audits</a:t>
            </a: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Time spent planning, analyzing collaborating, vs prompting, activating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BE7F013C-D7DA-69E8-EB87-B4F0A6B0561F}"/>
              </a:ext>
            </a:extLst>
          </p:cNvPr>
          <p:cNvSpPr/>
          <p:nvPr/>
        </p:nvSpPr>
        <p:spPr>
          <a:xfrm>
            <a:off x="6286243" y="2492306"/>
            <a:ext cx="2517288" cy="14283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Build Translating and Anticipating into sales playbooks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Buyer journey documentation and planning</a:t>
            </a: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Opportunity/ account planning that re-enforce the most productive approaches</a:t>
            </a:r>
          </a:p>
          <a:p>
            <a:pPr marL="115888" indent="-115888" algn="ctr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5D1914-E276-ECCC-8445-B37CDEBE8504}"/>
              </a:ext>
            </a:extLst>
          </p:cNvPr>
          <p:cNvSpPr txBox="1"/>
          <p:nvPr/>
        </p:nvSpPr>
        <p:spPr>
          <a:xfrm>
            <a:off x="7414239" y="1519203"/>
            <a:ext cx="27785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venir Next LT Pro" panose="020B0504020202020204" pitchFamily="34" charset="77"/>
              </a:rPr>
              <a:t>Enable and train on the most productive approaches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8F19E61B-6CB0-AF9A-62DD-56A8117BFB66}"/>
              </a:ext>
            </a:extLst>
          </p:cNvPr>
          <p:cNvSpPr/>
          <p:nvPr/>
        </p:nvSpPr>
        <p:spPr>
          <a:xfrm>
            <a:off x="8900351" y="2492306"/>
            <a:ext cx="2517288" cy="14283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Train Sellers on Translating and Anticipating approaches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Skills and behaviors most associated with most productive approaches</a:t>
            </a:r>
          </a:p>
          <a:p>
            <a:pPr marL="115888" indent="-115888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venir Next LT Pro" panose="020B0504020202020204" pitchFamily="34" charset="77"/>
              </a:rPr>
              <a:t>Sales manager training on coaching beyond pipeline managemen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D580024-2B6F-619F-CA90-4BC1D0C4DE62}"/>
              </a:ext>
            </a:extLst>
          </p:cNvPr>
          <p:cNvCxnSpPr>
            <a:cxnSpLocks/>
          </p:cNvCxnSpPr>
          <p:nvPr/>
        </p:nvCxnSpPr>
        <p:spPr>
          <a:xfrm>
            <a:off x="6096000" y="1552269"/>
            <a:ext cx="0" cy="4475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646046-89EA-B111-1F51-8904CA79609D}"/>
              </a:ext>
            </a:extLst>
          </p:cNvPr>
          <p:cNvCxnSpPr/>
          <p:nvPr/>
        </p:nvCxnSpPr>
        <p:spPr>
          <a:xfrm>
            <a:off x="606240" y="5249731"/>
            <a:ext cx="11302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20F4950-DA8F-A1E1-0D7F-BAB54E68BF82}"/>
              </a:ext>
            </a:extLst>
          </p:cNvPr>
          <p:cNvSpPr txBox="1"/>
          <p:nvPr/>
        </p:nvSpPr>
        <p:spPr>
          <a:xfrm>
            <a:off x="440108" y="5407758"/>
            <a:ext cx="893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venir Next LT Pro" panose="020B0504020202020204" pitchFamily="34" charset="77"/>
              </a:rPr>
              <a:t>SBI Suppor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4675F8B-9E07-CDA6-789C-19E963C30071}"/>
              </a:ext>
            </a:extLst>
          </p:cNvPr>
          <p:cNvSpPr/>
          <p:nvPr/>
        </p:nvSpPr>
        <p:spPr>
          <a:xfrm>
            <a:off x="1333947" y="5406834"/>
            <a:ext cx="2517288" cy="4616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Sales Talent Assessment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69E8F8C-641D-B9C6-9145-EA72497C6A4E}"/>
              </a:ext>
            </a:extLst>
          </p:cNvPr>
          <p:cNvSpPr/>
          <p:nvPr/>
        </p:nvSpPr>
        <p:spPr>
          <a:xfrm>
            <a:off x="3496649" y="5406834"/>
            <a:ext cx="2517288" cy="4616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Seller Time Study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2423B59-D4E2-4B53-28C0-FBD635A0420E}"/>
              </a:ext>
            </a:extLst>
          </p:cNvPr>
          <p:cNvSpPr/>
          <p:nvPr/>
        </p:nvSpPr>
        <p:spPr>
          <a:xfrm>
            <a:off x="6286243" y="5406834"/>
            <a:ext cx="2517288" cy="4616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Sales Process and Playbook Design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391DD594-6EE1-6791-3EFF-23AAF4872278}"/>
              </a:ext>
            </a:extLst>
          </p:cNvPr>
          <p:cNvSpPr/>
          <p:nvPr/>
        </p:nvSpPr>
        <p:spPr>
          <a:xfrm>
            <a:off x="8900351" y="5406834"/>
            <a:ext cx="2517288" cy="4616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Skills-Based Sales Training</a:t>
            </a:r>
          </a:p>
          <a:p>
            <a:pPr algn="ctr"/>
            <a:endParaRPr lang="en-US" dirty="0">
              <a:solidFill>
                <a:srgbClr val="000000"/>
              </a:solidFill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49465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6D4D54-69D4-188F-FF8B-5C914FD79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1629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6D4D54-69D4-188F-FF8B-5C914FD79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D0DF4B-3EC5-02E6-93FF-27EA50C52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Evolving buying and selling dynamics drive extended sales cyc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92F614-CA29-313C-1591-AB7CCAFD506D}"/>
              </a:ext>
            </a:extLst>
          </p:cNvPr>
          <p:cNvSpPr txBox="1"/>
          <p:nvPr/>
        </p:nvSpPr>
        <p:spPr>
          <a:xfrm>
            <a:off x="609600" y="1219022"/>
            <a:ext cx="4109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Buying Dynamics Making Selling Harder Today</a:t>
            </a:r>
            <a:endParaRPr lang="en-US" sz="1200" dirty="0">
              <a:latin typeface="Avenir Next LT Pro" panose="020B0504020202020204" pitchFamily="34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E1A973-7C78-BC8B-43EA-D5E96C4035B7}"/>
              </a:ext>
            </a:extLst>
          </p:cNvPr>
          <p:cNvSpPr txBox="1"/>
          <p:nvPr/>
        </p:nvSpPr>
        <p:spPr>
          <a:xfrm>
            <a:off x="609600" y="2053259"/>
            <a:ext cx="354570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Return to consensus buyi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More (and more diverse) stakehold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Heightened risk avers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Minimal tolerance for change</a:t>
            </a:r>
          </a:p>
          <a:p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7D2A92-F5B0-EE84-761A-20BFA9D59592}"/>
              </a:ext>
            </a:extLst>
          </p:cNvPr>
          <p:cNvSpPr txBox="1"/>
          <p:nvPr/>
        </p:nvSpPr>
        <p:spPr>
          <a:xfrm>
            <a:off x="6417921" y="2049859"/>
            <a:ext cx="421538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Increasing solution sophistication and complexit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Evolving revenue models and packaging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Reduced time spent receiving coaching/ traini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77"/>
              </a:rPr>
              <a:t>More complex go-to-market teams</a:t>
            </a:r>
          </a:p>
          <a:p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</a:pPr>
            <a:endParaRPr lang="en-US" sz="1800" dirty="0">
              <a:latin typeface="Avenir Next LT Pro" panose="020B0504020202020204" pitchFamily="34" charset="7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73D949-2D6F-6CE2-25D1-BD2227D3A974}"/>
              </a:ext>
            </a:extLst>
          </p:cNvPr>
          <p:cNvSpPr txBox="1"/>
          <p:nvPr/>
        </p:nvSpPr>
        <p:spPr>
          <a:xfrm>
            <a:off x="6417921" y="1219021"/>
            <a:ext cx="3626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elling Dynamics Inhibiting Seller Readiness</a:t>
            </a:r>
            <a:endParaRPr lang="en-US" sz="1200" dirty="0">
              <a:latin typeface="Avenir Next LT Pro" panose="020B05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16830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7836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A small portion are seeing success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F7FAFED9-D43D-7507-7F07-05637664FC1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998705"/>
              </p:ext>
            </p:extLst>
          </p:nvPr>
        </p:nvGraphicFramePr>
        <p:xfrm>
          <a:off x="1490663" y="1785938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Google Shape;11;p4">
            <a:extLst>
              <a:ext uri="{FF2B5EF4-FFF2-40B4-BE49-F238E27FC236}">
                <a16:creationId xmlns:a16="http://schemas.microsoft.com/office/drawing/2014/main" id="{B80C2F8A-AA1E-855E-D387-388F1CC20128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998913" y="2020888"/>
            <a:ext cx="2416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857960D-5F31-48CF-A717-98412AF8B703}" type="datetime'''Relat''ively'' Sho''r''''ter'''' ''C''yc''l''e Ti''m''es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Relatively Shorter Cycle Times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6" name="Google Shape;11;p4">
            <a:extLst>
              <a:ext uri="{FF2B5EF4-FFF2-40B4-BE49-F238E27FC236}">
                <a16:creationId xmlns:a16="http://schemas.microsoft.com/office/drawing/2014/main" id="{B59E9882-7077-5AE2-5F00-80DB933C4C5F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529013" y="4652963"/>
            <a:ext cx="2252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8A085A4-C069-4D1C-B9BF-7CECC14C5CF3}" type="datetime'Sim''ila''r ''C''ycle'' T''''imes ''''to ''''P''''''e''''ers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Similar Cycle Times to Peers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7" name="Google Shape;11;p4">
            <a:extLst>
              <a:ext uri="{FF2B5EF4-FFF2-40B4-BE49-F238E27FC236}">
                <a16:creationId xmlns:a16="http://schemas.microsoft.com/office/drawing/2014/main" id="{E6A2F089-0758-737A-FF53-BE93EEEBD144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7800" y="2397124"/>
            <a:ext cx="14303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8C8CB1C-9D12-474E-B7C9-C807B7397D6B}" type="datetime'Re''l''ati''''''vely ''''Lon''ge''r &#10;C''yc''l''e ''Ti''mes'''">
              <a:rPr lang="en-US" altLang="en-US" kern="120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rPr>
              <a:pPr/>
              <a:t>Relatively Longer 
Cycle Times</a:t>
            </a:fld>
            <a:endParaRPr lang="en-US" kern="1200" dirty="0">
              <a:solidFill>
                <a:schemeClr val="tx1"/>
              </a:solidFill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23BBEA-AFBF-E744-08B0-8954DCB3D495}"/>
              </a:ext>
            </a:extLst>
          </p:cNvPr>
          <p:cNvSpPr txBox="1"/>
          <p:nvPr/>
        </p:nvSpPr>
        <p:spPr>
          <a:xfrm>
            <a:off x="609600" y="1143814"/>
            <a:ext cx="4935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eller Time to Close A Sale Compared With Peers</a:t>
            </a:r>
            <a:endParaRPr lang="en-US" sz="1200" i="1" dirty="0">
              <a:latin typeface="Avenir Next LT Pro" panose="020B0504020202020204" pitchFamily="34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5D0DDA-698D-DB3A-5DFF-6B9A9DB3C410}"/>
              </a:ext>
            </a:extLst>
          </p:cNvPr>
          <p:cNvSpPr txBox="1"/>
          <p:nvPr/>
        </p:nvSpPr>
        <p:spPr>
          <a:xfrm>
            <a:off x="6788613" y="2497019"/>
            <a:ext cx="4170523" cy="160043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“There is a pocket of our team that’s got things figured out. I can’t quite put my finger on it, but it seems like they’re the ones going slower to go faster.”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i="1" dirty="0">
                <a:latin typeface="Avenir Next LT Pro" panose="020B0504020202020204" pitchFamily="34" charset="0"/>
              </a:rPr>
              <a:t>	CEO</a:t>
            </a:r>
          </a:p>
          <a:p>
            <a:r>
              <a:rPr lang="en-US" i="1" dirty="0">
                <a:latin typeface="Avenir Next LT Pro" panose="020B0504020202020204" pitchFamily="34" charset="0"/>
              </a:rPr>
              <a:t>	Information Services Compan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F1DAB8-4B66-E508-A75A-AF4DB74450A1}"/>
              </a:ext>
            </a:extLst>
          </p:cNvPr>
          <p:cNvSpPr txBox="1"/>
          <p:nvPr/>
        </p:nvSpPr>
        <p:spPr>
          <a:xfrm>
            <a:off x="671764" y="6012025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</p:spTree>
    <p:extLst>
      <p:ext uri="{BB962C8B-B14F-4D97-AF65-F5344CB8AC3E}">
        <p14:creationId xmlns:p14="http://schemas.microsoft.com/office/powerpoint/2010/main" val="348279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14BA2E-69C7-3A93-2ACA-CA83C613028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236538" indent="-7938"/>
            <a:r>
              <a:rPr lang="en-US" b="0" dirty="0">
                <a:latin typeface="Avenir Next LT Pro" panose="020B0504020202020204" pitchFamily="34" charset="77"/>
              </a:rPr>
              <a:t>SBI Research Question:</a:t>
            </a:r>
          </a:p>
          <a:p>
            <a:pPr marL="236538" indent="-7938"/>
            <a:r>
              <a:rPr lang="en-US" dirty="0">
                <a:latin typeface="Avenir Next LT Pro" panose="020B0504020202020204" pitchFamily="34" charset="77"/>
              </a:rPr>
              <a:t>What are the best sellers doing differently to close deals faster?</a:t>
            </a:r>
          </a:p>
        </p:txBody>
      </p:sp>
    </p:spTree>
    <p:extLst>
      <p:ext uri="{BB962C8B-B14F-4D97-AF65-F5344CB8AC3E}">
        <p14:creationId xmlns:p14="http://schemas.microsoft.com/office/powerpoint/2010/main" val="815164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2287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SBI conducted an advanced analysis to understand winning behaviors</a:t>
            </a:r>
          </a:p>
        </p:txBody>
      </p:sp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E9E77264-CC4B-75DB-E105-863EC0AC1C91}"/>
              </a:ext>
            </a:extLst>
          </p:cNvPr>
          <p:cNvSpPr/>
          <p:nvPr/>
        </p:nvSpPr>
        <p:spPr>
          <a:xfrm>
            <a:off x="1132774" y="1432313"/>
            <a:ext cx="2663382" cy="103499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Built </a:t>
            </a:r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inventory of 90+ seller skills and behaviors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 observed through decades of client talent assessment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BBC0F22-2D86-58DA-22BA-7D7C84165C79}"/>
              </a:ext>
            </a:extLst>
          </p:cNvPr>
          <p:cNvSpPr/>
          <p:nvPr/>
        </p:nvSpPr>
        <p:spPr>
          <a:xfrm>
            <a:off x="635552" y="1378154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1.</a:t>
            </a:r>
          </a:p>
        </p:txBody>
      </p:sp>
      <p:sp>
        <p:nvSpPr>
          <p:cNvPr id="11" name="Rounded Rectangle 5">
            <a:extLst>
              <a:ext uri="{FF2B5EF4-FFF2-40B4-BE49-F238E27FC236}">
                <a16:creationId xmlns:a16="http://schemas.microsoft.com/office/drawing/2014/main" id="{B6DD3008-DCBE-D0F4-8269-177AF137A738}"/>
              </a:ext>
            </a:extLst>
          </p:cNvPr>
          <p:cNvSpPr/>
          <p:nvPr/>
        </p:nvSpPr>
        <p:spPr>
          <a:xfrm>
            <a:off x="4475878" y="1431581"/>
            <a:ext cx="2663382" cy="103499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Surveyed 300+ SEs, SDRs, and Sales Managers 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across industries and company sizes on those skills and behavior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FE9CF53-2075-C4EF-A4FE-FB42673AB1CD}"/>
              </a:ext>
            </a:extLst>
          </p:cNvPr>
          <p:cNvSpPr/>
          <p:nvPr/>
        </p:nvSpPr>
        <p:spPr>
          <a:xfrm>
            <a:off x="3985342" y="1378154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2.</a:t>
            </a:r>
          </a:p>
        </p:txBody>
      </p:sp>
      <p:sp>
        <p:nvSpPr>
          <p:cNvPr id="15" name="Rounded Rectangle 5">
            <a:extLst>
              <a:ext uri="{FF2B5EF4-FFF2-40B4-BE49-F238E27FC236}">
                <a16:creationId xmlns:a16="http://schemas.microsoft.com/office/drawing/2014/main" id="{223CE6A5-3941-61CC-1A83-C338CF0F87F2}"/>
              </a:ext>
            </a:extLst>
          </p:cNvPr>
          <p:cNvSpPr/>
          <p:nvPr/>
        </p:nvSpPr>
        <p:spPr>
          <a:xfrm>
            <a:off x="7844413" y="1420351"/>
            <a:ext cx="2663382" cy="103499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Conducted </a:t>
            </a:r>
            <a:r>
              <a:rPr lang="en-US" b="1" dirty="0">
                <a:solidFill>
                  <a:srgbClr val="000000"/>
                </a:solidFill>
                <a:latin typeface="Avenir Next LT Pro" panose="020B0504020202020204" pitchFamily="34" charset="77"/>
              </a:rPr>
              <a:t>factor analysis to develop seller profiles</a:t>
            </a:r>
            <a:r>
              <a:rPr lang="en-US" dirty="0">
                <a:solidFill>
                  <a:srgbClr val="000000"/>
                </a:solidFill>
                <a:latin typeface="Avenir Next LT Pro" panose="020B0504020202020204" pitchFamily="34" charset="77"/>
              </a:rPr>
              <a:t>, and tested them against outcomes with regression analysis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C48144D-767B-1E4F-05DF-C916D36A8EFF}"/>
              </a:ext>
            </a:extLst>
          </p:cNvPr>
          <p:cNvSpPr/>
          <p:nvPr/>
        </p:nvSpPr>
        <p:spPr>
          <a:xfrm>
            <a:off x="7335132" y="1366925"/>
            <a:ext cx="607848" cy="4272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venir Next LT Pro" panose="020B0504020202020204" pitchFamily="34" charset="77"/>
              </a:rPr>
              <a:t>3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4C4278-7973-D022-281D-D45816E46B69}"/>
              </a:ext>
            </a:extLst>
          </p:cNvPr>
          <p:cNvSpPr txBox="1"/>
          <p:nvPr/>
        </p:nvSpPr>
        <p:spPr>
          <a:xfrm>
            <a:off x="595804" y="1026725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BI’s Research Methodolog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457A5D-A72D-96A3-DC47-207AFB34772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939" y="2978262"/>
            <a:ext cx="2083359" cy="117188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301EB5-989C-2C42-A16F-5D4525D942D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416" y="3189863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84BB19-6927-6EFC-40A5-1C169BBEBE2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3400" y="3402100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7A0745-0288-A06A-DCD4-97FCAC03716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772" y="3624954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330B04B-D8F9-478B-0E69-6279795C400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794" y="3804748"/>
            <a:ext cx="2083360" cy="11718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0E3881-22C7-3FAF-0497-F16C6B1505C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256" y="3003469"/>
            <a:ext cx="3074625" cy="130448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7371E9E-592D-C5DE-11E3-BAA17614373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2925" y="2990265"/>
            <a:ext cx="3082303" cy="158372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185993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2FF5-7E9D-A2F8-C177-F171181F7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949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3D2FF5-7E9D-A2F8-C177-F171181F7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1D3B9-96EF-3F17-FAC1-1D671D7C2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Tested behaviors cut across twelve sales competenc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4C4278-7973-D022-281D-D45816E46B69}"/>
              </a:ext>
            </a:extLst>
          </p:cNvPr>
          <p:cNvSpPr txBox="1"/>
          <p:nvPr/>
        </p:nvSpPr>
        <p:spPr>
          <a:xfrm>
            <a:off x="595804" y="1026725"/>
            <a:ext cx="5828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Selection of Evaluated Seller Behavio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DDC86C-70B7-648A-3C5F-590BB911E747}"/>
              </a:ext>
            </a:extLst>
          </p:cNvPr>
          <p:cNvSpPr txBox="1"/>
          <p:nvPr/>
        </p:nvSpPr>
        <p:spPr>
          <a:xfrm>
            <a:off x="3373658" y="2684611"/>
            <a:ext cx="274426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Business Case Developmen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Outline business case data needs before asking customer for data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Use public resources to build draft business case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Focus on facts in business case, rather than storie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Know what the buyer needs before they do and steer them that way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50AAA35-0401-E092-13C6-7D37FFBF70FD}"/>
              </a:ext>
            </a:extLst>
          </p:cNvPr>
          <p:cNvSpPr txBox="1"/>
          <p:nvPr/>
        </p:nvSpPr>
        <p:spPr>
          <a:xfrm>
            <a:off x="8939361" y="2684611"/>
            <a:ext cx="27442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Cost Justific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Use visual tools and frameworks with the buyer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Tailor value explanation to each role in BD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Minimize time on cost justific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1526AD-93CF-EE5E-55BB-B24DC616B1A9}"/>
              </a:ext>
            </a:extLst>
          </p:cNvPr>
          <p:cNvSpPr txBox="1"/>
          <p:nvPr/>
        </p:nvSpPr>
        <p:spPr>
          <a:xfrm>
            <a:off x="3373658" y="4081460"/>
            <a:ext cx="27442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Exec Sponsorship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view BDT dynamics with manager or trusted peer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end insights to buyer's exec sponsor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Don't see buyer's exec sponsor as critical to involv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5EDF83-46F7-36A6-AF33-0665A98C35E7}"/>
              </a:ext>
            </a:extLst>
          </p:cNvPr>
          <p:cNvSpPr txBox="1"/>
          <p:nvPr/>
        </p:nvSpPr>
        <p:spPr>
          <a:xfrm>
            <a:off x="8939361" y="1829571"/>
            <a:ext cx="27442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Generating Referral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Identify customer referrals that will be most impactful to buyer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Use referrals sparingly and strategicall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Maintain a referral pipelin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4AA9B9-0C45-DCA1-B407-5F0D354E8D4F}"/>
              </a:ext>
            </a:extLst>
          </p:cNvPr>
          <p:cNvSpPr txBox="1"/>
          <p:nvPr/>
        </p:nvSpPr>
        <p:spPr>
          <a:xfrm>
            <a:off x="627242" y="4177225"/>
            <a:ext cx="27442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Managing Sales Suppor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gular cadence of sharing and brainstorming with customer succes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hare difficult buyer situations with technical team quickly and jointly addres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Invite peers to calls when stuck to 'change the channel'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Openly share challenges with manag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931425-D6CE-E30A-159C-2F6C8C1995B1}"/>
              </a:ext>
            </a:extLst>
          </p:cNvPr>
          <p:cNvSpPr txBox="1"/>
          <p:nvPr/>
        </p:nvSpPr>
        <p:spPr>
          <a:xfrm>
            <a:off x="6102203" y="3907063"/>
            <a:ext cx="27442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Negotiating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Help buyers secure additional funding from other areas of their organiz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Once negotiating, focus on making it easy and low-risk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10772A7-604A-59CB-D408-AB655F2A1B6A}"/>
              </a:ext>
            </a:extLst>
          </p:cNvPr>
          <p:cNvSpPr txBox="1"/>
          <p:nvPr/>
        </p:nvSpPr>
        <p:spPr>
          <a:xfrm>
            <a:off x="6086487" y="1807553"/>
            <a:ext cx="274426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Objection Handling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hare difficult objections with manager to figure out next step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Confident using client data when handling objection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Work to make it as easy as possible for the buyer to clos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7E7381-AEE8-72E3-23A3-21886CC9FAA3}"/>
              </a:ext>
            </a:extLst>
          </p:cNvPr>
          <p:cNvSpPr txBox="1"/>
          <p:nvPr/>
        </p:nvSpPr>
        <p:spPr>
          <a:xfrm>
            <a:off x="627243" y="3019631"/>
            <a:ext cx="274426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Product Knowledge Acquisi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Teach buyers how their peers use solution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Only provide the information buyers reques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hare surprising viewpoints with buy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Plugged into product updates and refine talk track quickl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Fully understand company's product strateg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1D61418-3175-7910-79BE-78E76107BFFC}"/>
              </a:ext>
            </a:extLst>
          </p:cNvPr>
          <p:cNvSpPr txBox="1"/>
          <p:nvPr/>
        </p:nvSpPr>
        <p:spPr>
          <a:xfrm>
            <a:off x="609600" y="1802115"/>
            <a:ext cx="27442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Sales Approach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Learns about the structure of and changes in buyer's company, industr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Learns the dynamics of the BD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Prioritizes buyers ready to act quickly, even if it's a smaller deal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gularly documents account and opportunity plann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0D2F8E0-7EED-68C3-A732-73A3740A00F7}"/>
              </a:ext>
            </a:extLst>
          </p:cNvPr>
          <p:cNvSpPr txBox="1"/>
          <p:nvPr/>
        </p:nvSpPr>
        <p:spPr>
          <a:xfrm>
            <a:off x="6069085" y="2914483"/>
            <a:ext cx="27442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Social Prospecting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hare new information to re-engage non-responsive buy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-post marketing information on social media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Tailor outreach when private messaging on a social platfor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7EDAF01-2CD8-571A-0882-A813D9226C20}"/>
              </a:ext>
            </a:extLst>
          </p:cNvPr>
          <p:cNvSpPr txBox="1"/>
          <p:nvPr/>
        </p:nvSpPr>
        <p:spPr>
          <a:xfrm>
            <a:off x="8939360" y="3429000"/>
            <a:ext cx="27442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Tenacit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Set the pace of interactions with buyers rather than letting them do so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Establish a plan to win over buyers who are difficult during initial touchpoint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Never hesitate to share POV with buyer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FFE15BD-308E-0888-BF40-7D2E7868B871}"/>
              </a:ext>
            </a:extLst>
          </p:cNvPr>
          <p:cNvSpPr txBox="1"/>
          <p:nvPr/>
        </p:nvSpPr>
        <p:spPr>
          <a:xfrm>
            <a:off x="3373659" y="1829571"/>
            <a:ext cx="27442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Avenir Next LT Pro" panose="020B0504020202020204" pitchFamily="34" charset="77"/>
              </a:rPr>
              <a:t>Utilizing Marketing Program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gular cadence of sharing marketing content with buy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900" dirty="0">
                <a:latin typeface="Avenir Next LT Pro" panose="020B0504020202020204" pitchFamily="34" charset="77"/>
              </a:rPr>
              <a:t>Regular cadence with Marketing to understand what will resonate with buyers</a:t>
            </a:r>
          </a:p>
        </p:txBody>
      </p:sp>
    </p:spTree>
    <p:extLst>
      <p:ext uri="{BB962C8B-B14F-4D97-AF65-F5344CB8AC3E}">
        <p14:creationId xmlns:p14="http://schemas.microsoft.com/office/powerpoint/2010/main" val="2018138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873662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82BC7D-DE0A-1BB1-DE8B-FB3E5DDC5920}"/>
              </a:ext>
            </a:extLst>
          </p:cNvPr>
          <p:cNvSpPr txBox="1"/>
          <p:nvPr/>
        </p:nvSpPr>
        <p:spPr>
          <a:xfrm>
            <a:off x="6800646" y="4678384"/>
            <a:ext cx="2560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Acceptance</a:t>
            </a:r>
            <a:endParaRPr lang="en-US" sz="1200" dirty="0">
              <a:latin typeface="Avenir Next LT Pro" panose="020B05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717A0-5AF6-08F9-A346-CCEF76F31D99}"/>
              </a:ext>
            </a:extLst>
          </p:cNvPr>
          <p:cNvSpPr txBox="1"/>
          <p:nvPr/>
        </p:nvSpPr>
        <p:spPr>
          <a:xfrm>
            <a:off x="9387923" y="4663898"/>
            <a:ext cx="2560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Momentum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958FA3-97D4-320D-0D27-2FA9E7DFF398}"/>
              </a:ext>
            </a:extLst>
          </p:cNvPr>
          <p:cNvSpPr txBox="1"/>
          <p:nvPr/>
        </p:nvSpPr>
        <p:spPr>
          <a:xfrm>
            <a:off x="430282" y="2213935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ssociated Behavi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5" y="4585593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E6498F-A8C4-69CF-658C-20AAFC078E9A}"/>
              </a:ext>
            </a:extLst>
          </p:cNvPr>
          <p:cNvSpPr txBox="1"/>
          <p:nvPr/>
        </p:nvSpPr>
        <p:spPr>
          <a:xfrm>
            <a:off x="4195413" y="4654448"/>
            <a:ext cx="256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Reconsideration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1FE535-BFBC-86B6-FBAC-41A533F1D681}"/>
              </a:ext>
            </a:extLst>
          </p:cNvPr>
          <p:cNvSpPr txBox="1"/>
          <p:nvPr/>
        </p:nvSpPr>
        <p:spPr>
          <a:xfrm>
            <a:off x="1647898" y="4663898"/>
            <a:ext cx="253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F9BD7C6-BD61-62C1-299C-03162CCF36B2}"/>
              </a:ext>
            </a:extLst>
          </p:cNvPr>
          <p:cNvSpPr/>
          <p:nvPr/>
        </p:nvSpPr>
        <p:spPr>
          <a:xfrm>
            <a:off x="6801440" y="1583981"/>
            <a:ext cx="2560320" cy="3064759"/>
          </a:xfrm>
          <a:prstGeom prst="rect">
            <a:avLst/>
          </a:prstGeom>
          <a:solidFill>
            <a:srgbClr val="0F2AF2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ransla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F7318C-0E05-938A-B061-7AE35233F688}"/>
              </a:ext>
            </a:extLst>
          </p:cNvPr>
          <p:cNvSpPr/>
          <p:nvPr/>
        </p:nvSpPr>
        <p:spPr>
          <a:xfrm>
            <a:off x="9397888" y="1583981"/>
            <a:ext cx="2560320" cy="3064759"/>
          </a:xfrm>
          <a:prstGeom prst="rect">
            <a:avLst/>
          </a:prstGeom>
          <a:solidFill>
            <a:srgbClr val="77BCF4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latin typeface="Avenir Next LT Pro" panose="020B0504020202020204" pitchFamily="34" charset="0"/>
              </a:rPr>
              <a:t>Anticipat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4468840-64DA-4B9F-9D3D-CECFC833D48A}"/>
              </a:ext>
            </a:extLst>
          </p:cNvPr>
          <p:cNvSpPr/>
          <p:nvPr/>
        </p:nvSpPr>
        <p:spPr>
          <a:xfrm>
            <a:off x="4208064" y="1574531"/>
            <a:ext cx="2560167" cy="3074209"/>
          </a:xfrm>
          <a:prstGeom prst="rect">
            <a:avLst/>
          </a:prstGeom>
          <a:solidFill>
            <a:srgbClr val="BED0E5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Provok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DD01365-729D-8570-BCC4-AEDEF21AB9D4}"/>
              </a:ext>
            </a:extLst>
          </p:cNvPr>
          <p:cNvSpPr/>
          <p:nvPr/>
        </p:nvSpPr>
        <p:spPr>
          <a:xfrm>
            <a:off x="1635245" y="1583981"/>
            <a:ext cx="2560167" cy="3064759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400" kern="0" dirty="0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0DD2A82-7DBA-FF0B-628A-9B9B007BFB39}"/>
              </a:ext>
            </a:extLst>
          </p:cNvPr>
          <p:cNvSpPr txBox="1"/>
          <p:nvPr/>
        </p:nvSpPr>
        <p:spPr>
          <a:xfrm>
            <a:off x="2139461" y="2187130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scribes buying steps and criteri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118C5DD-A9BD-090B-37D5-2DAEBB8F3E37}"/>
              </a:ext>
            </a:extLst>
          </p:cNvPr>
          <p:cNvSpPr txBox="1"/>
          <p:nvPr/>
        </p:nvSpPr>
        <p:spPr>
          <a:xfrm>
            <a:off x="2056580" y="2841384"/>
            <a:ext cx="17301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B30C837-9470-2FD9-741A-8BC50F1039FB}"/>
              </a:ext>
            </a:extLst>
          </p:cNvPr>
          <p:cNvSpPr txBox="1"/>
          <p:nvPr/>
        </p:nvSpPr>
        <p:spPr>
          <a:xfrm>
            <a:off x="2147125" y="3728202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6392C9C-9993-4B2C-BB59-5450A7720DA4}"/>
              </a:ext>
            </a:extLst>
          </p:cNvPr>
          <p:cNvSpPr txBox="1"/>
          <p:nvPr/>
        </p:nvSpPr>
        <p:spPr>
          <a:xfrm>
            <a:off x="4583112" y="2197730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Applies an insight-led postur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57A24A-37FF-281B-3ABD-D9E2E09E5F47}"/>
              </a:ext>
            </a:extLst>
          </p:cNvPr>
          <p:cNvSpPr txBox="1"/>
          <p:nvPr/>
        </p:nvSpPr>
        <p:spPr>
          <a:xfrm>
            <a:off x="4583112" y="2880802"/>
            <a:ext cx="1791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ailors insights to buy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47E30DA-E090-515E-18A3-8AC595FCC7E7}"/>
              </a:ext>
            </a:extLst>
          </p:cNvPr>
          <p:cNvSpPr txBox="1"/>
          <p:nvPr/>
        </p:nvSpPr>
        <p:spPr>
          <a:xfrm>
            <a:off x="4592206" y="3666066"/>
            <a:ext cx="1791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Tightly aligns with Market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104D7EB-152E-3B6A-FA96-E696F68D01DC}"/>
              </a:ext>
            </a:extLst>
          </p:cNvPr>
          <p:cNvSpPr txBox="1"/>
          <p:nvPr/>
        </p:nvSpPr>
        <p:spPr>
          <a:xfrm>
            <a:off x="7360003" y="2187129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Denominates in buyer data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4E18102-43A6-AEF8-EAAC-B441722740E8}"/>
              </a:ext>
            </a:extLst>
          </p:cNvPr>
          <p:cNvSpPr txBox="1"/>
          <p:nvPr/>
        </p:nvSpPr>
        <p:spPr>
          <a:xfrm>
            <a:off x="7251250" y="3656862"/>
            <a:ext cx="1654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Simplifies complex messag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3C64EA4-511C-1969-94DC-E3C467661A97}"/>
              </a:ext>
            </a:extLst>
          </p:cNvPr>
          <p:cNvSpPr txBox="1"/>
          <p:nvPr/>
        </p:nvSpPr>
        <p:spPr>
          <a:xfrm>
            <a:off x="7173786" y="2881849"/>
            <a:ext cx="18095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Positions with meaningful contex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C6BF47-2797-D20D-BE97-E9159B450AD3}"/>
              </a:ext>
            </a:extLst>
          </p:cNvPr>
          <p:cNvSpPr txBox="1"/>
          <p:nvPr/>
        </p:nvSpPr>
        <p:spPr>
          <a:xfrm>
            <a:off x="9949441" y="2182572"/>
            <a:ext cx="1437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De-risks decision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B52718F-4B00-9832-FBC2-F539C015D891}"/>
              </a:ext>
            </a:extLst>
          </p:cNvPr>
          <p:cNvSpPr txBox="1"/>
          <p:nvPr/>
        </p:nvSpPr>
        <p:spPr>
          <a:xfrm>
            <a:off x="9715941" y="2841384"/>
            <a:ext cx="190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roactively manages the buying decision tea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652D7B9-C50D-9C9A-597F-3AEDB6382D0D}"/>
              </a:ext>
            </a:extLst>
          </p:cNvPr>
          <p:cNvSpPr txBox="1"/>
          <p:nvPr/>
        </p:nvSpPr>
        <p:spPr>
          <a:xfrm>
            <a:off x="9496652" y="3728202"/>
            <a:ext cx="2342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Collaborates internally to anticipate mis-steps</a:t>
            </a:r>
          </a:p>
        </p:txBody>
      </p:sp>
    </p:spTree>
    <p:extLst>
      <p:ext uri="{BB962C8B-B14F-4D97-AF65-F5344CB8AC3E}">
        <p14:creationId xmlns:p14="http://schemas.microsoft.com/office/powerpoint/2010/main" val="542477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  <p:bldP spid="33" grpId="0" animBg="1"/>
      <p:bldP spid="3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12AF87-E518-56E1-7CC0-68531514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3352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12AF87-E518-56E1-7CC0-68531514D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7E036-886A-E439-62D8-64868B0D0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941"/>
            <a:ext cx="10962290" cy="767853"/>
          </a:xfrm>
        </p:spPr>
        <p:txBody>
          <a:bodyPr vert="horz"/>
          <a:lstStyle/>
          <a:p>
            <a:r>
              <a:rPr lang="en-US" dirty="0">
                <a:latin typeface="Avenir Next LT Pro" panose="020B0504020202020204" pitchFamily="34" charset="77"/>
              </a:rPr>
              <a:t>Four distinct approaches appear among sel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A15F4C-FF42-F11D-3024-BE641B33B0FC}"/>
              </a:ext>
            </a:extLst>
          </p:cNvPr>
          <p:cNvSpPr txBox="1"/>
          <p:nvPr/>
        </p:nvSpPr>
        <p:spPr>
          <a:xfrm>
            <a:off x="609600" y="1066495"/>
            <a:ext cx="6946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latin typeface="Avenir Next LT Pro" panose="020B0504020202020204" pitchFamily="34" charset="77"/>
              </a:rPr>
              <a:t>Unique Seller Approaches Identified Using Facto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FF2E2C-D309-1653-09B5-F1BC8A1522D3}"/>
              </a:ext>
            </a:extLst>
          </p:cNvPr>
          <p:cNvSpPr txBox="1"/>
          <p:nvPr/>
        </p:nvSpPr>
        <p:spPr>
          <a:xfrm>
            <a:off x="609600" y="5747478"/>
            <a:ext cx="4430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venir Next LT Pro" panose="020B0504020202020204" pitchFamily="34" charset="77"/>
              </a:rPr>
              <a:t>N = 325 sales reps</a:t>
            </a:r>
          </a:p>
          <a:p>
            <a:r>
              <a:rPr lang="en-US" sz="1000" dirty="0">
                <a:latin typeface="Avenir Next LT Pro" panose="020B0504020202020204" pitchFamily="34" charset="77"/>
              </a:rPr>
              <a:t>Source: SBI 2023 Seller Skills Surve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04EC8B-0A88-A320-E4AD-A12F70887D87}"/>
              </a:ext>
            </a:extLst>
          </p:cNvPr>
          <p:cNvSpPr txBox="1"/>
          <p:nvPr/>
        </p:nvSpPr>
        <p:spPr>
          <a:xfrm>
            <a:off x="428296" y="1583981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Selling Approa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348C8-092A-294C-2D72-543472E43C22}"/>
              </a:ext>
            </a:extLst>
          </p:cNvPr>
          <p:cNvSpPr txBox="1"/>
          <p:nvPr/>
        </p:nvSpPr>
        <p:spPr>
          <a:xfrm>
            <a:off x="428296" y="4955838"/>
            <a:ext cx="1206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xpected Outco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38AA06-5878-17E2-8CD3-035840A3961D}"/>
              </a:ext>
            </a:extLst>
          </p:cNvPr>
          <p:cNvSpPr/>
          <p:nvPr/>
        </p:nvSpPr>
        <p:spPr>
          <a:xfrm>
            <a:off x="1527587" y="1583982"/>
            <a:ext cx="5669280" cy="3271688"/>
          </a:xfrm>
          <a:prstGeom prst="rect">
            <a:avLst/>
          </a:prstGeom>
          <a:solidFill>
            <a:srgbClr val="002036"/>
          </a:solidFill>
          <a:ln w="25400" cap="flat" cmpd="sng" algn="ctr">
            <a:noFill/>
            <a:prstDash val="solid"/>
          </a:ln>
          <a:effectLst/>
        </p:spPr>
        <p:txBody>
          <a:bodyPr lIns="274320" tIns="91440" rIns="274320" rtlCol="0" anchor="t" anchorCtr="0"/>
          <a:lstStyle/>
          <a:p>
            <a:pPr marL="120650" marR="0" lvl="0" indent="-1206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Narrowing</a:t>
            </a:r>
            <a:endParaRPr lang="en-US" sz="1200" dirty="0">
              <a:solidFill>
                <a:schemeClr val="bg1"/>
              </a:solidFill>
              <a:latin typeface="Avenir Next LT Pro" panose="020B0504020202020204" pitchFamily="34" charset="0"/>
            </a:endParaRP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Sets the pace of interactions with buyers rather than letting them do so</a:t>
            </a:r>
          </a:p>
          <a:p>
            <a:pPr marL="12065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Knows what the buyer needs before they do and steer them that way</a:t>
            </a: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Only provides information buyers request</a:t>
            </a: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oesn't see exec sponsor as critical to involve</a:t>
            </a:r>
          </a:p>
          <a:p>
            <a:pPr marL="12065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Focuses on facts in business case, rather than stories</a:t>
            </a: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Uses data to create an emotional response</a:t>
            </a:r>
          </a:p>
          <a:p>
            <a:pPr marL="12065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Rarely brings manager into negotiations </a:t>
            </a:r>
          </a:p>
          <a:p>
            <a:pPr marL="12065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Once negotiating, focuses on making it easy and low-risk</a:t>
            </a: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Helps buyers secure additional funding from other areas of their organization</a:t>
            </a:r>
          </a:p>
          <a:p>
            <a:pPr marL="120650" lvl="0" indent="-120650">
              <a:spcBef>
                <a:spcPts val="60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Minimizes time on cost justifi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C84235-1E44-4515-423B-10CEED56DFF3}"/>
              </a:ext>
            </a:extLst>
          </p:cNvPr>
          <p:cNvSpPr txBox="1"/>
          <p:nvPr/>
        </p:nvSpPr>
        <p:spPr>
          <a:xfrm>
            <a:off x="3167027" y="4948847"/>
            <a:ext cx="2560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Avenir Next LT Pro" panose="020B0504020202020204" pitchFamily="34" charset="0"/>
              </a:rPr>
              <a:t>Urgency</a:t>
            </a:r>
            <a:endParaRPr lang="en-US" sz="1200" i="1" dirty="0"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E5F0D9-712F-7389-2B73-C0511B30540E}"/>
              </a:ext>
            </a:extLst>
          </p:cNvPr>
          <p:cNvSpPr txBox="1"/>
          <p:nvPr/>
        </p:nvSpPr>
        <p:spPr>
          <a:xfrm>
            <a:off x="7551346" y="2026323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rescribes buying criteria and step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03FF8E-9EB2-803C-2BFB-F56059991DB2}"/>
              </a:ext>
            </a:extLst>
          </p:cNvPr>
          <p:cNvSpPr txBox="1"/>
          <p:nvPr/>
        </p:nvSpPr>
        <p:spPr>
          <a:xfrm>
            <a:off x="7556581" y="2870292"/>
            <a:ext cx="1551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Prevents the introduction of additional “noise”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F7A6470F-3902-C2C2-C174-6B0332587307}"/>
              </a:ext>
            </a:extLst>
          </p:cNvPr>
          <p:cNvSpPr/>
          <p:nvPr/>
        </p:nvSpPr>
        <p:spPr>
          <a:xfrm>
            <a:off x="7330277" y="1947186"/>
            <a:ext cx="226303" cy="5619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9C762D7-504C-4F3F-7BC9-CF2B8F080094}"/>
              </a:ext>
            </a:extLst>
          </p:cNvPr>
          <p:cNvSpPr/>
          <p:nvPr/>
        </p:nvSpPr>
        <p:spPr>
          <a:xfrm>
            <a:off x="7330278" y="2668556"/>
            <a:ext cx="221068" cy="10632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40710A-9603-071E-80E9-7D11B23CB0EC}"/>
              </a:ext>
            </a:extLst>
          </p:cNvPr>
          <p:cNvSpPr txBox="1"/>
          <p:nvPr/>
        </p:nvSpPr>
        <p:spPr>
          <a:xfrm>
            <a:off x="7551346" y="4092958"/>
            <a:ext cx="1551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venir Next LT Pro" panose="020B0504020202020204" pitchFamily="34" charset="77"/>
              </a:rPr>
              <a:t>Establishes a smooth close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309C445C-399A-B67A-2646-21FB164015CA}"/>
              </a:ext>
            </a:extLst>
          </p:cNvPr>
          <p:cNvSpPr/>
          <p:nvPr/>
        </p:nvSpPr>
        <p:spPr>
          <a:xfrm>
            <a:off x="7322744" y="3828931"/>
            <a:ext cx="221068" cy="9474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3FF138-F305-5FE1-97F8-1BC90693B312}"/>
              </a:ext>
            </a:extLst>
          </p:cNvPr>
          <p:cNvCxnSpPr/>
          <p:nvPr/>
        </p:nvCxnSpPr>
        <p:spPr>
          <a:xfrm>
            <a:off x="1807285" y="2509157"/>
            <a:ext cx="5292762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936368D-707D-492E-0D62-6BA9907F811C}"/>
              </a:ext>
            </a:extLst>
          </p:cNvPr>
          <p:cNvCxnSpPr/>
          <p:nvPr/>
        </p:nvCxnSpPr>
        <p:spPr>
          <a:xfrm>
            <a:off x="1807285" y="3801076"/>
            <a:ext cx="5292762" cy="0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799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6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3qOtq0KOZ2q2mFH5iI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_JyKE2dDbQylynRNFS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8FZepOCSJLBCDyDVni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lj5rXf9f2KlGRDFe9o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fOoga1cVOZqpN4Ly6h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Ymjg6rHoyS4xutHVJ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Npc4lcm.sPOnhKq9VV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.9nVKQfnQqbpKd4LrD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qwdq5Zqtf7b4l9Ym4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P9fITcTyKAst0raPeV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SudCjtZ_VPm_12VJ3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4TUOIwImgUNGOlMV31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31pVeeDBDLpHWz9EKd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ko8e..GHTnd_dF6wqx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Wa63HfNmEGAg810DbJ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WW.b_eL4_IjVHaFZCz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TS03suQJeXBDuVc9i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75UkZJLLecfslJSwjm3w"/>
</p:tagLst>
</file>

<file path=ppt/theme/theme1.xml><?xml version="1.0" encoding="utf-8"?>
<a:theme xmlns:a="http://schemas.openxmlformats.org/drawingml/2006/main" name="Office Theme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E380507-3431-0148-998B-FC89BD579545}" vid="{8B042C98-1726-A74C-96E6-DECB7B0169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600</TotalTime>
  <Words>1885</Words>
  <Application>Microsoft Office PowerPoint</Application>
  <PresentationFormat>Widescreen</PresentationFormat>
  <Paragraphs>371</Paragraphs>
  <Slides>2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Avenir</vt:lpstr>
      <vt:lpstr>Avenir Next LT Pro</vt:lpstr>
      <vt:lpstr>Calibri</vt:lpstr>
      <vt:lpstr>Courier New</vt:lpstr>
      <vt:lpstr>Office Theme</vt:lpstr>
      <vt:lpstr>think-cell Slide</vt:lpstr>
      <vt:lpstr>Delivering Sales Velocity: A Quantitative Study of Seller Approaches</vt:lpstr>
      <vt:lpstr>Seller productivity is a significant challenge in the current business environment</vt:lpstr>
      <vt:lpstr>Evolving buying and selling dynamics drive extended sales cycles</vt:lpstr>
      <vt:lpstr>A small portion are seeing success</vt:lpstr>
      <vt:lpstr>PowerPoint Presentation</vt:lpstr>
      <vt:lpstr>SBI conducted an advanced analysis to understand winning behaviors</vt:lpstr>
      <vt:lpstr>Tested behaviors cut across twelve sales competencies</vt:lpstr>
      <vt:lpstr>Four distinct approaches appear among sellers</vt:lpstr>
      <vt:lpstr>Four distinct approaches appear among sellers</vt:lpstr>
      <vt:lpstr>Four distinct approaches appear among sellers</vt:lpstr>
      <vt:lpstr>Four distinct approaches appear among sellers</vt:lpstr>
      <vt:lpstr>Four distinct approaches appear among sellers</vt:lpstr>
      <vt:lpstr>Narrowing is most prevalent among today’s sellers</vt:lpstr>
      <vt:lpstr>Narrowing is extending sales cycles</vt:lpstr>
      <vt:lpstr>Provoking is extending sales cycles too</vt:lpstr>
      <vt:lpstr>Focusing on Translating and Anticipating accelerates deals</vt:lpstr>
      <vt:lpstr>Focusing on Translating and Anticipating accelerates deals … and leads to larger sales price</vt:lpstr>
      <vt:lpstr>Productive sellers pull out what buyers need, rather than pushing what they think they need</vt:lpstr>
      <vt:lpstr>Sales managers are over-indexing on the wrong approaches, costing sales productivity</vt:lpstr>
      <vt:lpstr>Drive the right approaches with assessments and enabl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an Kurey</dc:creator>
  <cp:lastModifiedBy>Bryan Kurey</cp:lastModifiedBy>
  <cp:revision>8</cp:revision>
  <dcterms:created xsi:type="dcterms:W3CDTF">2023-05-01T19:55:20Z</dcterms:created>
  <dcterms:modified xsi:type="dcterms:W3CDTF">2023-08-24T03:36:01Z</dcterms:modified>
</cp:coreProperties>
</file>